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1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9.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 id="2147483673" r:id="rId4"/>
    <p:sldMasterId id="2147483679" r:id="rId5"/>
    <p:sldMasterId id="2147483695" r:id="rId6"/>
    <p:sldMasterId id="2147483703" r:id="rId7"/>
    <p:sldMasterId id="2147483717" r:id="rId8"/>
    <p:sldMasterId id="2147483739" r:id="rId9"/>
    <p:sldMasterId id="2147483773" r:id="rId10"/>
    <p:sldMasterId id="2147483778" r:id="rId11"/>
    <p:sldMasterId id="2147483783" r:id="rId12"/>
    <p:sldMasterId id="2147483787" r:id="rId13"/>
  </p:sldMasterIdLst>
  <p:notesMasterIdLst>
    <p:notesMasterId r:id="rId69"/>
  </p:notesMasterIdLst>
  <p:sldIdLst>
    <p:sldId id="257" r:id="rId14"/>
    <p:sldId id="259" r:id="rId15"/>
    <p:sldId id="306" r:id="rId16"/>
    <p:sldId id="261" r:id="rId17"/>
    <p:sldId id="262" r:id="rId18"/>
    <p:sldId id="263" r:id="rId19"/>
    <p:sldId id="264" r:id="rId20"/>
    <p:sldId id="265" r:id="rId21"/>
    <p:sldId id="266" r:id="rId22"/>
    <p:sldId id="267" r:id="rId23"/>
    <p:sldId id="268" r:id="rId24"/>
    <p:sldId id="307" r:id="rId25"/>
    <p:sldId id="270" r:id="rId26"/>
    <p:sldId id="271" r:id="rId27"/>
    <p:sldId id="272" r:id="rId28"/>
    <p:sldId id="274" r:id="rId29"/>
    <p:sldId id="308" r:id="rId30"/>
    <p:sldId id="276" r:id="rId31"/>
    <p:sldId id="277" r:id="rId32"/>
    <p:sldId id="278" r:id="rId33"/>
    <p:sldId id="279" r:id="rId34"/>
    <p:sldId id="280" r:id="rId35"/>
    <p:sldId id="281" r:id="rId36"/>
    <p:sldId id="309" r:id="rId37"/>
    <p:sldId id="283" r:id="rId38"/>
    <p:sldId id="284" r:id="rId39"/>
    <p:sldId id="285" r:id="rId40"/>
    <p:sldId id="286" r:id="rId41"/>
    <p:sldId id="287" r:id="rId42"/>
    <p:sldId id="288" r:id="rId43"/>
    <p:sldId id="289" r:id="rId44"/>
    <p:sldId id="310" r:id="rId45"/>
    <p:sldId id="290" r:id="rId46"/>
    <p:sldId id="292" r:id="rId47"/>
    <p:sldId id="293" r:id="rId48"/>
    <p:sldId id="294" r:id="rId49"/>
    <p:sldId id="295" r:id="rId50"/>
    <p:sldId id="296" r:id="rId51"/>
    <p:sldId id="297" r:id="rId52"/>
    <p:sldId id="298" r:id="rId53"/>
    <p:sldId id="311" r:id="rId54"/>
    <p:sldId id="300" r:id="rId55"/>
    <p:sldId id="301" r:id="rId56"/>
    <p:sldId id="302" r:id="rId57"/>
    <p:sldId id="303" r:id="rId58"/>
    <p:sldId id="304" r:id="rId59"/>
    <p:sldId id="312" r:id="rId60"/>
    <p:sldId id="313" r:id="rId61"/>
    <p:sldId id="314" r:id="rId62"/>
    <p:sldId id="315" r:id="rId63"/>
    <p:sldId id="316" r:id="rId64"/>
    <p:sldId id="317" r:id="rId65"/>
    <p:sldId id="318" r:id="rId66"/>
    <p:sldId id="319" r:id="rId67"/>
    <p:sldId id="305"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9CC"/>
    <a:srgbClr val="410B42"/>
    <a:srgbClr val="F088CB"/>
    <a:srgbClr val="E57465"/>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88" autoAdjust="0"/>
    <p:restoredTop sz="87152" autoAdjust="0"/>
  </p:normalViewPr>
  <p:slideViewPr>
    <p:cSldViewPr snapToGrid="0">
      <p:cViewPr varScale="1">
        <p:scale>
          <a:sx n="75" d="100"/>
          <a:sy n="75" d="100"/>
        </p:scale>
        <p:origin x="898" y="62"/>
      </p:cViewPr>
      <p:guideLst/>
    </p:cSldViewPr>
  </p:slideViewPr>
  <p:notesTextViewPr>
    <p:cViewPr>
      <p:scale>
        <a:sx n="1" d="1"/>
        <a:sy n="1" d="1"/>
      </p:scale>
      <p:origin x="0" y="0"/>
    </p:cViewPr>
  </p:notesTextViewPr>
  <p:sorterViewPr>
    <p:cViewPr varScale="1">
      <p:scale>
        <a:sx n="100" d="100"/>
        <a:sy n="100" d="100"/>
      </p:scale>
      <p:origin x="0" y="-10531"/>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slide" Target="slides/slide48.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image" Target="../media/image7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53D391-9448-4E2C-B1D7-7BCD86464274}" type="datetimeFigureOut">
              <a:rPr lang="en-US" smtClean="0"/>
              <a:t>5/2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3A8FCA-590F-409D-B93A-92B699FC6F41}" type="slidenum">
              <a:rPr lang="en-US" smtClean="0"/>
              <a:t>‹#›</a:t>
            </a:fld>
            <a:endParaRPr lang="en-US"/>
          </a:p>
        </p:txBody>
      </p:sp>
    </p:spTree>
    <p:extLst>
      <p:ext uri="{BB962C8B-B14F-4D97-AF65-F5344CB8AC3E}">
        <p14:creationId xmlns:p14="http://schemas.microsoft.com/office/powerpoint/2010/main" val="1975509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450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can</a:t>
            </a:r>
            <a:r>
              <a:rPr lang="en-US" baseline="0" dirty="0"/>
              <a:t> cause major headaches for machine learning. This is the way the model is supposed to look, with everything near the lin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8908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can</a:t>
            </a:r>
            <a:r>
              <a:rPr lang="en-US" baseline="0" dirty="0"/>
              <a:t> cause major headaches for machine learning. This is the way the model is supposed to look, with everything near the lin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427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a:t>
            </a:r>
            <a:r>
              <a:rPr lang="en-US" baseline="0" dirty="0"/>
              <a:t> you’ll see those bad points in the residual plo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066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a:t>
            </a:r>
            <a:r>
              <a:rPr lang="en-US" baseline="0" dirty="0"/>
              <a:t> you’ll see those bad points in the residual plot. Remember the residual plot is a histogram of how far the points are from the model. So you’ll have a bump here where most of the points are, and then you’ll see this one point way off in the distance. </a:t>
            </a:r>
            <a:r>
              <a:rPr lang="en-US" dirty="0">
                <a:effectLst/>
              </a:rPr>
              <a:t>The difference between the observed value of the dependent variable (</a:t>
            </a:r>
            <a:r>
              <a:rPr lang="en-US" i="1" dirty="0">
                <a:effectLst/>
              </a:rPr>
              <a:t>y</a:t>
            </a:r>
            <a:r>
              <a:rPr lang="en-US" dirty="0">
                <a:effectLst/>
              </a:rPr>
              <a:t>) and the predicted value (</a:t>
            </a:r>
            <a:r>
              <a:rPr lang="en-US" i="1" dirty="0">
                <a:effectLst/>
              </a:rPr>
              <a:t>ŷ</a:t>
            </a:r>
            <a:r>
              <a:rPr lang="en-US" dirty="0">
                <a:effectLst/>
              </a:rPr>
              <a:t>) is called the </a:t>
            </a:r>
            <a:r>
              <a:rPr lang="en-US" b="1" dirty="0">
                <a:effectLst/>
              </a:rPr>
              <a:t>residual</a:t>
            </a:r>
            <a:r>
              <a:rPr lang="en-US" dirty="0">
                <a:effectLst/>
              </a:rPr>
              <a:t> (</a:t>
            </a:r>
            <a:r>
              <a:rPr lang="en-US" i="1" dirty="0">
                <a:effectLst/>
              </a:rPr>
              <a:t>e</a:t>
            </a:r>
            <a:r>
              <a:rPr lang="en-US" dirty="0">
                <a:effectLst/>
              </a:rPr>
              <a:t>). Each data point has one residua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47809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f you remove that point, then the value of f is totally differen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489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0661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rage</a:t>
            </a:r>
            <a:r>
              <a:rPr lang="en-US" baseline="0" dirty="0"/>
              <a:t> is a different sort of thing. Here’s the intuition. You see this point over here? That point, if you move it aroun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795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rage</a:t>
            </a:r>
            <a:r>
              <a:rPr lang="en-US" baseline="0" dirty="0"/>
              <a:t> is a different sort of thing. Here’s the intuition. You see this point over here? That point, if you move it around, not much is going to happen. Even if you move it around quite a bi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62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oint on the</a:t>
            </a:r>
            <a:r>
              <a:rPr lang="en-US" baseline="0" dirty="0"/>
              <a:t> other hand, is a different stor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948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this point’s x value</a:t>
            </a:r>
            <a:r>
              <a:rPr lang="en-US" baseline="0" dirty="0"/>
              <a:t> is far from the other ones, changes in that point are going to have larger effects on the value of f. Even if I move the two points the same amount, the value of f is going to change more for this point than for the other one. That’s called lever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439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ive Bayes classifier is an algorithm that uses Bayes' theorem to classify objects. Naive Bayes classifiers assume strong, or naive, independence between attributes of data points. Popular uses of naive Bayes classifiers include spam filters, text analysis and medical diagnosis. These classifiers are widely used for machine learning because they are simple to implement. </a:t>
            </a:r>
          </a:p>
          <a:p>
            <a:r>
              <a:rPr lang="en-US" dirty="0"/>
              <a:t>Naive Bayes is also known as simple Bayes or independence Bayes. </a:t>
            </a:r>
          </a:p>
          <a:p>
            <a:r>
              <a:rPr lang="en-US" dirty="0"/>
              <a:t>A naive Bayes classifier uses probability theory to classify data. Naive Bayes classifier algorithms make use of Bayes' theorem. The key insight of Bayes' theorem is that the probability of an event can be adjusted as new data is introduced. </a:t>
            </a:r>
          </a:p>
          <a:p>
            <a:r>
              <a:rPr lang="en-US" dirty="0"/>
              <a:t>What makes a naive Bayes classifier naive is its assumption that all attributes of a data point under consideration are independent of each other. A classifier sorting fruits into apples and oranges would know that apples are red, round and are a certain size, but would not assume all these things at once. Oranges are round too, after all. </a:t>
            </a:r>
          </a:p>
          <a:p>
            <a:r>
              <a:rPr lang="en-US" dirty="0"/>
              <a:t>A naive Bayes classifier is not a single algorithm, but a family of machine learning algorithms that make uses of statistical independence. These algorithms are relatively easy to write and run more efficiently than more complex Bayes algorithms. </a:t>
            </a:r>
          </a:p>
          <a:p>
            <a:r>
              <a:rPr lang="en-US" dirty="0"/>
              <a:t>The most popular application is spam filters. A spam filter looks at email messages for certain key words and puts them in a spam folder if they match. </a:t>
            </a:r>
          </a:p>
          <a:p>
            <a:r>
              <a:rPr lang="en-US" dirty="0"/>
              <a:t>Despite the name, the more data it gets, the more accurate a naive Bayes classifier becomes, such as from a user flagging email messages in an inbox for spam. </a:t>
            </a:r>
          </a:p>
          <a:p>
            <a:r>
              <a:rPr lang="en-US" dirty="0"/>
              <a:t>Naive </a:t>
            </a:r>
            <a:r>
              <a:rPr lang="en-US" dirty="0" err="1"/>
              <a:t>bayes</a:t>
            </a:r>
            <a:r>
              <a:rPr lang="en-US" dirty="0"/>
              <a:t> does quite well when the training data doesn't contain all possibilities so it can be very good with low amounts of data. Decision trees work better with lots of data compared to Naive Bayes.</a:t>
            </a:r>
          </a:p>
          <a:p>
            <a:r>
              <a:rPr lang="en-US" dirty="0"/>
              <a:t>Naive Bayes is used a lot in robotics and computer vision, and does quite well with those tasks. Decision trees perform very poorly in those situations.</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0638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a:t>
            </a:r>
            <a:r>
              <a:rPr lang="en-US" baseline="0" dirty="0"/>
              <a:t> precise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that point has high leverage. It’s not influential. It</a:t>
            </a:r>
            <a:r>
              <a:rPr lang="en-US" baseline="0" dirty="0"/>
              <a:t> wouldn’t stick out like a sore thumb on a residual plo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77310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a:t>
            </a:r>
            <a:r>
              <a:rPr lang="en-US" baseline="0" dirty="0"/>
              <a:t> precisel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4707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oint is very influential but doesn’t have high leverage.</a:t>
            </a:r>
            <a:r>
              <a:rPr lang="en-US" baseline="0" dirty="0"/>
              <a:t> If you removed that point, the regression would change. But it’s leverage is low because if you moved it a little bit the line wouldn’t change much. This other point has high leverage but it’s not influential because if you removed it nothing would chan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047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o what do you do when you see the point? I usually dig into the data to see whether that point is actually correct. Sometimes you go in and look at the data and find out that actually there’s an extra 0, so instead of writing down 10, they wrote down 100, and then you fix it. Or delete it. Sometimes you can’t fix it. If the data’s right, maybe it’s just that the models’ not right, and you might need a model that takes some factor into account that you didn’t have before. That</a:t>
            </a:r>
            <a:r>
              <a:rPr lang="uk-UA" baseline="0" dirty="0"/>
              <a:t>’</a:t>
            </a:r>
            <a:r>
              <a:rPr lang="en-US" baseline="0" dirty="0"/>
              <a:t>s where modeling gets to be more of an art than a science in some ways. You have to figure out how to describe the world in a way that makes sense, and that’s what it i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573A8FCA-590F-409D-B93A-92B699FC6F41}" type="slidenum">
              <a:rPr lang="en-US" smtClean="0"/>
              <a:t>32</a:t>
            </a:fld>
            <a:endParaRPr lang="en-US"/>
          </a:p>
        </p:txBody>
      </p:sp>
    </p:spTree>
    <p:extLst>
      <p:ext uri="{BB962C8B-B14F-4D97-AF65-F5344CB8AC3E}">
        <p14:creationId xmlns:p14="http://schemas.microsoft.com/office/powerpoint/2010/main" val="34152803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91785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9453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2316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4111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99028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GB" sz="2800" dirty="0">
                <a:cs typeface="Arial" charset="0"/>
              </a:rPr>
              <a:t>Outcome</a:t>
            </a:r>
            <a:endParaRPr lang="en-US" sz="2800" baseline="-25000" dirty="0"/>
          </a:p>
          <a:p>
            <a:pPr lvl="1" eaLnBrk="1" hangingPunct="1"/>
            <a:r>
              <a:rPr lang="en-US" sz="2400" dirty="0"/>
              <a:t>We still predict the </a:t>
            </a:r>
            <a:r>
              <a:rPr lang="en-US" sz="2400" i="1" dirty="0"/>
              <a:t>probability</a:t>
            </a:r>
            <a:r>
              <a:rPr lang="en-US" sz="2400" dirty="0"/>
              <a:t> of the outcome occurring</a:t>
            </a:r>
            <a:endParaRPr lang="en-US" sz="2400" i="1" dirty="0"/>
          </a:p>
          <a:p>
            <a:pPr eaLnBrk="1" hangingPunct="1"/>
            <a:r>
              <a:rPr lang="en-GB" sz="2800" dirty="0">
                <a:cs typeface="Arial" charset="0"/>
              </a:rPr>
              <a:t>Differences</a:t>
            </a:r>
            <a:endParaRPr lang="en-US" sz="2800" baseline="-25000" dirty="0"/>
          </a:p>
          <a:p>
            <a:pPr lvl="1" eaLnBrk="1" hangingPunct="1"/>
            <a:r>
              <a:rPr lang="en-US" sz="2400" dirty="0"/>
              <a:t>Note the multiple regression equation forms part of the logistic regression equation</a:t>
            </a:r>
          </a:p>
          <a:p>
            <a:pPr lvl="1" eaLnBrk="1" hangingPunct="1"/>
            <a:r>
              <a:rPr lang="en-GB" sz="2400" dirty="0"/>
              <a:t>This part of the equation expands to accommodate additional predictors</a:t>
            </a:r>
            <a:endParaRPr lang="en-US" sz="240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4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7017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76691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28859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62932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aseline="0" dirty="0"/>
              <a:t>Solution: Linear Regression, v4 is the dependant variable</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1091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aseline="0" dirty="0"/>
              <a:t>Solution: Logistic Regression, Q5 is the dependant variable</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63427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The p-value for each term tests the null hypothesis that the coefficient is equal to zero (no effect). A low p-value (&lt; 0.05) indicates that you can reject the null hypothesis. In other words, a predictor that has a low p-value is likely to be a meaningful addition to your model because changes in the predictor's value are related to changes in the response variable.</a:t>
            </a:r>
          </a:p>
          <a:p>
            <a:r>
              <a:rPr lang="en-US" dirty="0">
                <a:effectLst/>
              </a:rPr>
              <a:t>Conversely, a larger (insignificant) p-value suggests that changes in the predictor are not associated with changes in the response.</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86422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aseline="0"/>
              <a:t>Solution: Linear Regression</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2015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204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255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ear regression attempts to model the relationship between two variables by fitting a linear equation to observed data. One variable is considered to be an explanatory variable, and the other is considered to be a dependent variable</a:t>
            </a:r>
          </a:p>
          <a:p>
            <a:r>
              <a:rPr lang="en-US" dirty="0"/>
              <a:t>A linear regression line has an equation of the form </a:t>
            </a:r>
            <a:r>
              <a:rPr lang="en-US" b="1" i="1" dirty="0"/>
              <a:t>Y = a + </a:t>
            </a:r>
            <a:r>
              <a:rPr lang="en-US" b="1" i="1" dirty="0" err="1"/>
              <a:t>bX</a:t>
            </a:r>
            <a:r>
              <a:rPr lang="en-US" dirty="0"/>
              <a:t>, where </a:t>
            </a:r>
            <a:r>
              <a:rPr lang="en-US" b="1" i="1" dirty="0"/>
              <a:t>X</a:t>
            </a:r>
            <a:r>
              <a:rPr lang="en-US" dirty="0"/>
              <a:t> is the explanatory variable and </a:t>
            </a:r>
            <a:r>
              <a:rPr lang="en-US" b="1" i="1" dirty="0"/>
              <a:t>Y</a:t>
            </a:r>
            <a:r>
              <a:rPr lang="en-US" dirty="0"/>
              <a:t> is the dependent variable. The slope of the line is </a:t>
            </a:r>
            <a:r>
              <a:rPr lang="en-US" b="1" i="1" dirty="0"/>
              <a:t>b</a:t>
            </a:r>
            <a:r>
              <a:rPr lang="en-US" dirty="0"/>
              <a:t>, and </a:t>
            </a:r>
            <a:r>
              <a:rPr lang="en-US" b="1" i="1" dirty="0"/>
              <a:t>a</a:t>
            </a:r>
            <a:r>
              <a:rPr lang="en-US" dirty="0"/>
              <a:t> is the intercept (the value of </a:t>
            </a:r>
            <a:r>
              <a:rPr lang="en-US" b="1" i="1" dirty="0"/>
              <a:t>y</a:t>
            </a:r>
            <a:r>
              <a:rPr lang="en-US" dirty="0"/>
              <a:t> when </a:t>
            </a:r>
            <a:r>
              <a:rPr lang="en-US" b="1" i="1" dirty="0"/>
              <a:t>x</a:t>
            </a:r>
            <a:r>
              <a:rPr lang="en-US" dirty="0"/>
              <a:t> = 0). </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294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D6561-DDFE-4E4A-B588-7E0B11A2D5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347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hat do the standard coefficients indicate</a:t>
            </a:r>
            <a:endParaRPr lang="en-US" dirty="0"/>
          </a:p>
        </p:txBody>
      </p:sp>
      <p:sp>
        <p:nvSpPr>
          <p:cNvPr id="4" name="Slide Number Placeholder 3"/>
          <p:cNvSpPr>
            <a:spLocks noGrp="1"/>
          </p:cNvSpPr>
          <p:nvPr>
            <p:ph type="sldNum" sz="quarter" idx="10"/>
          </p:nvPr>
        </p:nvSpPr>
        <p:spPr/>
        <p:txBody>
          <a:bodyPr/>
          <a:lstStyle/>
          <a:p>
            <a:fld id="{573A8FCA-590F-409D-B93A-92B699FC6F41}" type="slidenum">
              <a:rPr lang="en-US" smtClean="0"/>
              <a:t>10</a:t>
            </a:fld>
            <a:endParaRPr lang="en-US"/>
          </a:p>
        </p:txBody>
      </p:sp>
    </p:spTree>
    <p:extLst>
      <p:ext uri="{BB962C8B-B14F-4D97-AF65-F5344CB8AC3E}">
        <p14:creationId xmlns:p14="http://schemas.microsoft.com/office/powerpoint/2010/main" val="15097155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ost common method for fitting a regression line is the method of least-squares. This method calculates the best-fitting line for the observed data by minimizing the sum of the squares of the vertical deviations from each data point to the line (if a point lies on the fitted line exactly, then its vertical deviation is 0). Because the deviations are first squared, then summed, there are no cancellations between positive and negative valu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60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lk about categorical</a:t>
            </a:r>
            <a:r>
              <a:rPr lang="nl-NL" baseline="0" dirty="0"/>
              <a:t> x’s.  For example, if we added a variable called Location which took values City, Town, Village.  Then we have to create 2 new variables.  One called City which will be 1 if Location has a value of City and 0 otherwise.  One called Town which will be a 1 if the value is Town and 0 otherwise.</a:t>
            </a:r>
          </a:p>
          <a:p>
            <a:r>
              <a:rPr lang="nl-NL" baseline="0" dirty="0"/>
              <a:t>Also important that 2 highly correlated variables cannot be entered together in the model (age, date of birth) as they will skew modelling results.  Only 1 should be chose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811F9E-0727-4D34-9B1E-0BFC6019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211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avanade.sharepoint.com/sites/policies/Policies2/Data%20Management/1431_DataManagement.pdf" TargetMode="External"/><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Master" Target="../slideMasters/slideMaster11.xml"/><Relationship Id="rId5" Type="http://schemas.openxmlformats.org/officeDocument/2006/relationships/image" Target="../media/image38.png"/><Relationship Id="rId4" Type="http://schemas.openxmlformats.org/officeDocument/2006/relationships/image" Target="../media/image3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Aurora - Divider slide">
    <p:spTree>
      <p:nvGrpSpPr>
        <p:cNvPr id="1" name=""/>
        <p:cNvGrpSpPr/>
        <p:nvPr/>
      </p:nvGrpSpPr>
      <p:grpSpPr>
        <a:xfrm>
          <a:off x="0" y="0"/>
          <a:ext cx="0" cy="0"/>
          <a:chOff x="0" y="0"/>
          <a:chExt cx="0" cy="0"/>
        </a:xfrm>
      </p:grpSpPr>
      <p:sp>
        <p:nvSpPr>
          <p:cNvPr id="6"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12777883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402818191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749524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5918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a:xfrm>
            <a:off x="381000" y="390719"/>
            <a:ext cx="11430000" cy="998344"/>
          </a:xfrm>
          <a:prstGeom prst="rect">
            <a:avLst/>
          </a:prstGeom>
        </p:spPr>
        <p:txBody>
          <a:bodyPr/>
          <a:lstStyle>
            <a:lvl1pPr>
              <a:defRPr>
                <a:solidFill>
                  <a:schemeClr val="tx1"/>
                </a:solidFill>
              </a:defRPr>
            </a:lvl1pPr>
          </a:lstStyle>
          <a:p>
            <a:r>
              <a:rPr lang="en-US"/>
              <a:t>Click to edit Master title style</a:t>
            </a:r>
          </a:p>
        </p:txBody>
      </p:sp>
      <p:sp>
        <p:nvSpPr>
          <p:cNvPr id="12" name="Text Placeholder 11"/>
          <p:cNvSpPr>
            <a:spLocks noGrp="1"/>
          </p:cNvSpPr>
          <p:nvPr>
            <p:ph type="body" sz="quarter" idx="13"/>
          </p:nvPr>
        </p:nvSpPr>
        <p:spPr>
          <a:xfrm>
            <a:off x="381000" y="1524000"/>
            <a:ext cx="11430000" cy="4597400"/>
          </a:xfrm>
        </p:spPr>
        <p:txBody>
          <a:bodyPr vert="horz" lIns="91440" tIns="45720" rIns="91440" bIns="45720" rtlCol="0">
            <a:noAutofit/>
          </a:bodyPr>
          <a:lstStyle>
            <a:lvl1pPr marL="0" indent="0" algn="l" defTabSz="914400" rtl="0" eaLnBrk="1" latinLnBrk="0" hangingPunct="1">
              <a:lnSpc>
                <a:spcPct val="90000"/>
              </a:lnSpc>
              <a:buFont typeface="Arial"/>
              <a:buNone/>
              <a:defRPr lang="en-US" sz="2000" b="0" i="0" kern="1200" smtClean="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buFont typeface="Arial"/>
              <a:buChar char="•"/>
              <a:defRPr lang="en-US" sz="1800" b="0" i="0" kern="1200" smtClean="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buFont typeface="Arial"/>
              <a:buChar char="•"/>
              <a:defRPr lang="en-US" sz="1600" b="0" i="0" kern="1200" smtClean="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buFont typeface="Arial"/>
              <a:buChar char="•"/>
              <a:defRPr lang="en-US" sz="1400" b="0" i="0" kern="1200" smtClean="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buFont typeface="Arial"/>
              <a:buChar char="•"/>
              <a:defRPr lang="en-US" sz="1400" b="0" i="0" kern="120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8201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11231207" y="6356350"/>
            <a:ext cx="495656" cy="365125"/>
          </a:xfrm>
          <a:prstGeom prst="rect">
            <a:avLst/>
          </a:prstGeo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6" name="Picture Placeholder 5"/>
          <p:cNvSpPr>
            <a:spLocks noGrp="1"/>
          </p:cNvSpPr>
          <p:nvPr>
            <p:ph type="pic" sz="quarter" idx="13"/>
          </p:nvPr>
        </p:nvSpPr>
        <p:spPr>
          <a:xfrm>
            <a:off x="0" y="0"/>
            <a:ext cx="12192000" cy="6858000"/>
          </a:xfrm>
          <a:prstGeom prst="rect">
            <a:avLst/>
          </a:prstGeom>
        </p:spPr>
        <p:txBody>
          <a:bodyPr anchor="ctr"/>
          <a:lstStyle>
            <a:lvl1pPr marL="0" indent="0" algn="ctr">
              <a:buNone/>
              <a:defRPr b="0">
                <a:solidFill>
                  <a:schemeClr val="tx1"/>
                </a:solidFill>
              </a:defRPr>
            </a:lvl1pPr>
          </a:lstStyle>
          <a:p>
            <a:r>
              <a:rPr lang="en-US"/>
              <a:t>Click icon to add picture</a:t>
            </a:r>
          </a:p>
        </p:txBody>
      </p:sp>
    </p:spTree>
    <p:extLst>
      <p:ext uri="{BB962C8B-B14F-4D97-AF65-F5344CB8AC3E}">
        <p14:creationId xmlns:p14="http://schemas.microsoft.com/office/powerpoint/2010/main" val="20105881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425324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5"/>
            <a:ext cx="2742326" cy="365125"/>
          </a:xfrm>
          <a:prstGeom prst="rect">
            <a:avLst/>
          </a:prstGeom>
        </p:spPr>
        <p:txBody>
          <a:bodyPr/>
          <a:lstStyle/>
          <a:p>
            <a:pPr defTabSz="607673"/>
            <a:fld id="{D23C339E-6384-4B7D-8AAA-399CE7159230}" type="slidenum">
              <a:rPr lang="en-US" sz="2400" smtClean="0">
                <a:solidFill>
                  <a:srgbClr val="BCBDBC">
                    <a:lumMod val="25000"/>
                  </a:srgbClr>
                </a:solidFill>
              </a:rPr>
              <a:pPr defTabSz="607673"/>
              <a:t>‹#›</a:t>
            </a:fld>
            <a:endParaRPr lang="en-US" sz="2400">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007780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1"/>
            <a:ext cx="12192000" cy="1321250"/>
          </a:xfrm>
          <a:prstGeom prst="rect">
            <a:avLst/>
          </a:prstGeom>
          <a:solidFill>
            <a:srgbClr val="EEEEEE"/>
          </a:solidFill>
        </p:spPr>
      </p:pic>
      <p:sp>
        <p:nvSpPr>
          <p:cNvPr id="2" name="Title 1"/>
          <p:cNvSpPr>
            <a:spLocks noGrp="1"/>
          </p:cNvSpPr>
          <p:nvPr>
            <p:ph type="title"/>
          </p:nvPr>
        </p:nvSpPr>
        <p:spPr>
          <a:xfrm>
            <a:off x="675222" y="301752"/>
            <a:ext cx="10850034"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3"/>
            <a:ext cx="10850034" cy="4422775"/>
          </a:xfrm>
        </p:spPr>
        <p:txBody>
          <a:bodyPr/>
          <a:lstStyle>
            <a:lvl1pPr>
              <a:spcAft>
                <a:spcPts val="200"/>
              </a:spcAft>
              <a:defRPr>
                <a:solidFill>
                  <a:srgbClr val="646464"/>
                </a:solidFill>
              </a:defRPr>
            </a:lvl1pPr>
            <a:lvl2pPr>
              <a:spcAft>
                <a:spcPts val="300"/>
              </a:spcAft>
              <a:defRPr>
                <a:solidFill>
                  <a:srgbClr val="646464"/>
                </a:solidFill>
              </a:defRPr>
            </a:lvl2pPr>
            <a:lvl3pPr>
              <a:spcAft>
                <a:spcPts val="300"/>
              </a:spcAft>
              <a:defRPr>
                <a:solidFill>
                  <a:srgbClr val="646464"/>
                </a:solidFill>
              </a:defRPr>
            </a:lvl3pPr>
            <a:lvl4pPr>
              <a:spcAft>
                <a:spcPts val="300"/>
              </a:spcAft>
              <a:defRPr>
                <a:solidFill>
                  <a:srgbClr val="646464"/>
                </a:solidFill>
              </a:defRPr>
            </a:lvl4pPr>
            <a:lvl5pPr>
              <a:spcAft>
                <a:spcPts val="300"/>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9965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46336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9102438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789175"/>
            <a:ext cx="10524898" cy="1080861"/>
          </a:xfrm>
          <a:prstGeom prst="rect">
            <a:avLst/>
          </a:prstGeom>
        </p:spPr>
        <p:txBody>
          <a:bodyPr anchor="b">
            <a:noAutofit/>
          </a:bodyPr>
          <a:lstStyle>
            <a:lvl1pPr marL="0" indent="0">
              <a:buNone/>
              <a:defRPr sz="4400" b="0" i="0">
                <a:solidFill>
                  <a:schemeClr val="bg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a:prstGeom prst="rect">
            <a:avLst/>
          </a:prstGeom>
        </p:spPr>
        <p:txBody>
          <a:bodyPr>
            <a:noAutofit/>
          </a:bodyPr>
          <a:lstStyle>
            <a:lvl1pPr marL="0" indent="0">
              <a:buNone/>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39436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8763622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876249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0128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54239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104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Aurora -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793" y="1122363"/>
            <a:ext cx="10270414" cy="2387600"/>
          </a:xfrm>
        </p:spPr>
        <p:txBody>
          <a:bodyPr anchor="b">
            <a:noAutofit/>
          </a:bodyPr>
          <a:lstStyle>
            <a:lvl1pPr algn="l">
              <a:defRPr sz="4400" b="0" i="0">
                <a:solidFill>
                  <a:schemeClr val="tx1"/>
                </a:solidFill>
                <a:latin typeface="Segoe UI" charset="0"/>
                <a:ea typeface="Segoe UI" charset="0"/>
                <a:cs typeface="Segoe UI" charset="0"/>
              </a:defRPr>
            </a:lvl1pPr>
          </a:lstStyle>
          <a:p>
            <a:r>
              <a:rPr lang="en-US"/>
              <a:t>Click to edit Master title style</a:t>
            </a:r>
            <a:endParaRPr lang="en-US" dirty="0"/>
          </a:p>
        </p:txBody>
      </p:sp>
      <p:sp>
        <p:nvSpPr>
          <p:cNvPr id="3" name="Subtitle 2"/>
          <p:cNvSpPr>
            <a:spLocks noGrp="1"/>
          </p:cNvSpPr>
          <p:nvPr>
            <p:ph type="subTitle" idx="1"/>
          </p:nvPr>
        </p:nvSpPr>
        <p:spPr>
          <a:xfrm>
            <a:off x="960793" y="3682980"/>
            <a:ext cx="10270414" cy="1655762"/>
          </a:xfrm>
        </p:spPr>
        <p:txBody>
          <a:bodyPr>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13755019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urora -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59817" y="1524000"/>
            <a:ext cx="5181600"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3817" y="1524000"/>
            <a:ext cx="4936414" cy="4351338"/>
          </a:xfr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12"/>
          </p:nvPr>
        </p:nvSpPr>
        <p:spPr>
          <a:xfrm>
            <a:off x="11230231" y="6356350"/>
            <a:ext cx="496632"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5378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urora - Title Only">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036110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2374808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290363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732" y="274638"/>
            <a:ext cx="11126510" cy="639762"/>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9"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1" y="6455179"/>
            <a:ext cx="4482124" cy="358621"/>
          </a:xfrm>
          <a:prstGeom prst="rect">
            <a:avLst/>
          </a:prstGeom>
        </p:spPr>
        <p:txBody>
          <a:bodyPr/>
          <a:lstStyle/>
          <a:p>
            <a:pPr defTabSz="607491"/>
            <a:endParaRPr lang="en-US" sz="2399" dirty="0">
              <a:solidFill>
                <a:prstClr val="black">
                  <a:tint val="75000"/>
                </a:prstClr>
              </a:solidFill>
            </a:endParaRPr>
          </a:p>
        </p:txBody>
      </p:sp>
      <p:sp>
        <p:nvSpPr>
          <p:cNvPr id="8" name="Slide Number Placeholder 7"/>
          <p:cNvSpPr>
            <a:spLocks noGrp="1"/>
          </p:cNvSpPr>
          <p:nvPr>
            <p:ph type="sldNum" sz="quarter" idx="11"/>
          </p:nvPr>
        </p:nvSpPr>
        <p:spPr>
          <a:xfrm>
            <a:off x="8981853" y="6356351"/>
            <a:ext cx="2742326" cy="340372"/>
          </a:xfrm>
          <a:prstGeom prst="rect">
            <a:avLst/>
          </a:prstGeom>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58552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65752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3709789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61677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5616507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55"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8" name="Content Placeholder 7"/>
          <p:cNvSpPr>
            <a:spLocks noGrp="1"/>
          </p:cNvSpPr>
          <p:nvPr>
            <p:ph sz="quarter" idx="11"/>
          </p:nvPr>
        </p:nvSpPr>
        <p:spPr>
          <a:xfrm>
            <a:off x="625468" y="1559995"/>
            <a:ext cx="10941073"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p>
            <a:endParaRPr dirty="0">
              <a:solidFill>
                <a:srgbClr val="666666"/>
              </a:solidFill>
            </a:endParaRP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Tree>
    <p:extLst>
      <p:ext uri="{BB962C8B-B14F-4D97-AF65-F5344CB8AC3E}">
        <p14:creationId xmlns:p14="http://schemas.microsoft.com/office/powerpoint/2010/main" val="410732430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3079"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Slide Number Placeholder 1"/>
          <p:cNvSpPr>
            <a:spLocks noGrp="1"/>
          </p:cNvSpPr>
          <p:nvPr>
            <p:ph type="sldNum" sz="quarter" idx="13"/>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6" name="Title 5"/>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Content Placeholder 9"/>
          <p:cNvSpPr>
            <a:spLocks noGrp="1"/>
          </p:cNvSpPr>
          <p:nvPr>
            <p:ph sz="quarter" idx="14"/>
          </p:nvPr>
        </p:nvSpPr>
        <p:spPr>
          <a:xfrm>
            <a:off x="625468" y="1187012"/>
            <a:ext cx="10941073"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156049964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4103"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10" name="Text Placeholder 16"/>
          <p:cNvSpPr>
            <a:spLocks noGrp="1"/>
          </p:cNvSpPr>
          <p:nvPr>
            <p:ph type="body" sz="quarter" idx="10"/>
          </p:nvPr>
        </p:nvSpPr>
        <p:spPr>
          <a:xfrm>
            <a:off x="62546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16"/>
          <p:cNvSpPr>
            <a:spLocks noGrp="1"/>
          </p:cNvSpPr>
          <p:nvPr>
            <p:ph type="body" sz="quarter" idx="16"/>
          </p:nvPr>
        </p:nvSpPr>
        <p:spPr>
          <a:xfrm>
            <a:off x="6275483" y="1164086"/>
            <a:ext cx="5291057"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13" name="Content Placeholder 7"/>
          <p:cNvSpPr>
            <a:spLocks noGrp="1"/>
          </p:cNvSpPr>
          <p:nvPr>
            <p:ph sz="quarter" idx="17"/>
          </p:nvPr>
        </p:nvSpPr>
        <p:spPr>
          <a:xfrm>
            <a:off x="6275483" y="1559995"/>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87311636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127"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9"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a:t>Click to edit Master text styles</a:t>
            </a:r>
          </a:p>
        </p:txBody>
      </p:sp>
      <p:sp>
        <p:nvSpPr>
          <p:cNvPr id="11" name="Content Placeholder 7"/>
          <p:cNvSpPr>
            <a:spLocks noGrp="1"/>
          </p:cNvSpPr>
          <p:nvPr>
            <p:ph sz="quarter" idx="11"/>
          </p:nvPr>
        </p:nvSpPr>
        <p:spPr>
          <a:xfrm>
            <a:off x="62546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7"/>
          <p:cNvSpPr>
            <a:spLocks noGrp="1"/>
          </p:cNvSpPr>
          <p:nvPr>
            <p:ph sz="quarter" idx="17"/>
          </p:nvPr>
        </p:nvSpPr>
        <p:spPr>
          <a:xfrm>
            <a:off x="6275483" y="1559277"/>
            <a:ext cx="5291057" cy="4876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37739258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6151"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6" name="Slide Number Placeholder 5"/>
          <p:cNvSpPr>
            <a:spLocks noGrp="1"/>
          </p:cNvSpPr>
          <p:nvPr>
            <p:ph type="sldNum" sz="quarter" idx="15"/>
          </p:nvPr>
        </p:nvSpPr>
        <p:spPr>
          <a:xfrm flipH="1">
            <a:off x="10888491" y="6537399"/>
            <a:ext cx="677794" cy="161888"/>
          </a:xfrm>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7" name="Title 6"/>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4" name="Content Placeholder 3"/>
          <p:cNvSpPr>
            <a:spLocks noGrp="1"/>
          </p:cNvSpPr>
          <p:nvPr>
            <p:ph sz="quarter" idx="16"/>
          </p:nvPr>
        </p:nvSpPr>
        <p:spPr>
          <a:xfrm>
            <a:off x="625463"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86374" y="1186295"/>
            <a:ext cx="5291057" cy="52547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Footer Placeholder 1"/>
          <p:cNvSpPr>
            <a:spLocks noGrp="1"/>
          </p:cNvSpPr>
          <p:nvPr>
            <p:ph type="ftr" sz="quarter" idx="18"/>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274601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7175"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p>
            <a:endParaRPr dirty="0">
              <a:solidFill>
                <a:srgbClr val="666666"/>
              </a:solidFill>
            </a:endParaRPr>
          </a:p>
        </p:txBody>
      </p:sp>
    </p:spTree>
    <p:extLst>
      <p:ext uri="{BB962C8B-B14F-4D97-AF65-F5344CB8AC3E}">
        <p14:creationId xmlns:p14="http://schemas.microsoft.com/office/powerpoint/2010/main" val="4850629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282392"/>
            <a:ext cx="11126898" cy="5170167"/>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Tree>
    <p:extLst>
      <p:ext uri="{BB962C8B-B14F-4D97-AF65-F5344CB8AC3E}">
        <p14:creationId xmlns:p14="http://schemas.microsoft.com/office/powerpoint/2010/main" val="831805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8199"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a:xfrm>
            <a:off x="625468" y="7"/>
            <a:ext cx="10941073" cy="1095121"/>
          </a:xfrm>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196107051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9223"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p:txBody>
          <a:bodyPr/>
          <a:lstStyle/>
          <a:p>
            <a:endParaRPr dirty="0">
              <a:solidFill>
                <a:srgbClr val="666666"/>
              </a:solidFill>
            </a:endParaRPr>
          </a:p>
        </p:txBody>
      </p:sp>
    </p:spTree>
    <p:extLst>
      <p:ext uri="{BB962C8B-B14F-4D97-AF65-F5344CB8AC3E}">
        <p14:creationId xmlns:p14="http://schemas.microsoft.com/office/powerpoint/2010/main" val="327097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247"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7"/>
            <a:ext cx="10941073" cy="1095121"/>
          </a:xfrm>
          <a:prstGeom prst="rect">
            <a:avLst/>
          </a:prstGeom>
        </p:spPr>
        <p:txBody>
          <a:bodyPr wrap="square" lIns="0" tIns="60937" rIns="0" bIns="0" anchor="b" anchorCtr="0">
            <a:noAutofit/>
          </a:bodyPr>
          <a:lstStyle>
            <a:lvl1pPr marL="0" indent="0" algn="l">
              <a:lnSpc>
                <a:spcPct val="100000"/>
              </a:lnSpc>
              <a:spcBef>
                <a:spcPct val="0"/>
              </a:spcBef>
              <a:spcAft>
                <a:spcPct val="0"/>
              </a:spcAft>
              <a:buFontTx/>
              <a:buNone/>
              <a:defRPr sz="2300" b="0" i="0" spc="0" baseline="0">
                <a:solidFill>
                  <a:schemeClr val="bg1"/>
                </a:solidFill>
                <a:latin typeface="Arial" panose="020B0604020202020204" pitchFamily="34" charset="0"/>
                <a:cs typeface="Arial" pitchFamily="34" charset="0"/>
              </a:defRPr>
            </a:lvl1pPr>
          </a:lstStyle>
          <a:p>
            <a:r>
              <a:rPr lang="en-US" dirty="0"/>
              <a:t>Click to edit Master title style </a:t>
            </a:r>
            <a:endParaRPr lang="en-GB" dirty="0"/>
          </a:p>
        </p:txBody>
      </p:sp>
      <p:sp>
        <p:nvSpPr>
          <p:cNvPr id="6"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3987068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271"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23460863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and Text Slid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295"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7" name="Text Placeholder 16"/>
          <p:cNvSpPr>
            <a:spLocks noGrp="1"/>
          </p:cNvSpPr>
          <p:nvPr>
            <p:ph type="body" sz="quarter" idx="10"/>
          </p:nvPr>
        </p:nvSpPr>
        <p:spPr>
          <a:xfrm>
            <a:off x="625468" y="1164086"/>
            <a:ext cx="10941073" cy="395908"/>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625468" y="1559995"/>
            <a:ext cx="10941073" cy="48768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5" name="Footer Placeholder 4"/>
          <p:cNvSpPr>
            <a:spLocks noGrp="1"/>
          </p:cNvSpPr>
          <p:nvPr>
            <p:ph type="ftr" sz="quarter" idx="12"/>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
        <p:nvSpPr>
          <p:cNvPr id="6" name="Slide Number Placeholder 5"/>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43337121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Slide 3">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319"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2" name="Title 1"/>
          <p:cNvSpPr>
            <a:spLocks noGrp="1"/>
          </p:cNvSpPr>
          <p:nvPr>
            <p:ph type="ctrTitle" hasCustomPrompt="1"/>
          </p:nvPr>
        </p:nvSpPr>
        <p:spPr>
          <a:xfrm>
            <a:off x="625468" y="4401108"/>
            <a:ext cx="10941073" cy="1161492"/>
          </a:xfrm>
          <a:prstGeom prst="rect">
            <a:avLst/>
          </a:prstGeom>
        </p:spPr>
        <p:txBody>
          <a:bodyPr lIns="0" tIns="0" anchor="b" anchorCtr="0">
            <a:noAutofit/>
          </a:bodyPr>
          <a:lstStyle>
            <a:lvl1pPr algn="l">
              <a:lnSpc>
                <a:spcPts val="5197"/>
              </a:lnSpc>
              <a:defRPr sz="3599" b="0"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0888492" y="6537399"/>
            <a:ext cx="677794" cy="161888"/>
          </a:xfrm>
          <a:prstGeom prst="rect">
            <a:avLst/>
          </a:prstGeom>
        </p:spPr>
        <p:txBody>
          <a:bodyPr vert="horz" wrap="square" lIns="121863" tIns="60931" rIns="0" bIns="60931" numCol="1" anchor="ctr" anchorCtr="0" compatLnSpc="1">
            <a:prstTxWarp prst="textNoShape">
              <a:avLst/>
            </a:prstTxWarp>
            <a:noAutofit/>
          </a:bodyPr>
          <a:lstStyle>
            <a:lvl1pPr algn="r">
              <a:defRPr sz="1000">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3" name="Footer Placeholder 2"/>
          <p:cNvSpPr>
            <a:spLocks noGrp="1"/>
          </p:cNvSpPr>
          <p:nvPr>
            <p:ph type="ftr" sz="quarter" idx="10"/>
          </p:nvPr>
        </p:nvSpPr>
        <p:spPr>
          <a:xfrm>
            <a:off x="625468" y="6537399"/>
            <a:ext cx="3681264" cy="161888"/>
          </a:xfrm>
        </p:spPr>
        <p:txBody>
          <a:bodyPr/>
          <a:lstStyle>
            <a:lvl1pPr>
              <a:defRPr sz="1000">
                <a:solidFill>
                  <a:schemeClr val="bg1"/>
                </a:solidFill>
              </a:defRPr>
            </a:lvl1pPr>
          </a:lstStyle>
          <a:p>
            <a:endParaRPr dirty="0">
              <a:solidFill>
                <a:srgbClr val="FFFFFF"/>
              </a:solidFill>
            </a:endParaRPr>
          </a:p>
        </p:txBody>
      </p:sp>
    </p:spTree>
    <p:extLst>
      <p:ext uri="{BB962C8B-B14F-4D97-AF65-F5344CB8AC3E}">
        <p14:creationId xmlns:p14="http://schemas.microsoft.com/office/powerpoint/2010/main" val="4872590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Sub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343"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7" name="Picture 5"/>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8" name="Rectangle 6"/>
          <p:cNvSpPr/>
          <p:nvPr userDrawn="1"/>
        </p:nvSpPr>
        <p:spPr>
          <a:xfrm>
            <a:off x="1" y="0"/>
            <a:ext cx="12192000" cy="6858000"/>
          </a:xfrm>
          <a:prstGeom prst="rect">
            <a:avLst/>
          </a:prstGeom>
          <a:gradFill flip="none" rotWithShape="1">
            <a:gsLst>
              <a:gs pos="0">
                <a:schemeClr val="tx1">
                  <a:alpha val="36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dirty="0">
              <a:solidFill>
                <a:srgbClr val="FFFFFF"/>
              </a:solidFill>
              <a:sym typeface="Segoe UI Symbo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solidFill>
                  <a:srgbClr val="FFFFFF"/>
                </a:solidFill>
              </a:rPr>
              <a:pPr>
                <a:defRPr/>
              </a:pPr>
              <a:t>‹#›</a:t>
            </a:fld>
            <a:endParaRPr lang="en-US" dirty="0">
              <a:solidFill>
                <a:srgbClr val="FFFFFF"/>
              </a:solidFill>
            </a:endParaRPr>
          </a:p>
        </p:txBody>
      </p:sp>
      <p:sp>
        <p:nvSpPr>
          <p:cNvPr id="5" name="Title 4"/>
          <p:cNvSpPr>
            <a:spLocks noGrp="1"/>
          </p:cNvSpPr>
          <p:nvPr>
            <p:ph type="title"/>
          </p:nvPr>
        </p:nvSpPr>
        <p:spPr>
          <a:xfrm>
            <a:off x="625468" y="7"/>
            <a:ext cx="10941073" cy="1095121"/>
          </a:xfrm>
        </p:spPr>
        <p:txBody>
          <a:bodyPr/>
          <a:lstStyle>
            <a:lvl1pPr>
              <a:defRPr>
                <a:solidFill>
                  <a:schemeClr val="bg1"/>
                </a:solidFill>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625468" y="1163369"/>
            <a:ext cx="10941073" cy="395908"/>
          </a:xfrm>
          <a:prstGeom prst="rect">
            <a:avLst/>
          </a:prstGeom>
        </p:spPr>
        <p:txBody>
          <a:bodyPr lIns="0"/>
          <a:lstStyle>
            <a:lvl1pPr marL="0" indent="0">
              <a:buNone/>
              <a:defRPr sz="2000">
                <a:solidFill>
                  <a:schemeClr val="accent2"/>
                </a:solidFill>
              </a:defRPr>
            </a:lvl1pPr>
            <a:lvl2pPr>
              <a:defRPr sz="3499"/>
            </a:lvl2pPr>
            <a:lvl3pPr>
              <a:defRPr sz="3199"/>
            </a:lvl3pPr>
            <a:lvl4pPr>
              <a:defRPr sz="2899"/>
            </a:lvl4pPr>
            <a:lvl5pPr>
              <a:defRPr sz="2699"/>
            </a:lvl5pPr>
          </a:lstStyle>
          <a:p>
            <a:pPr lvl="0"/>
            <a:r>
              <a:rPr lang="en-US" dirty="0"/>
              <a:t>Click to edit Master text styles</a:t>
            </a:r>
          </a:p>
        </p:txBody>
      </p:sp>
      <p:sp>
        <p:nvSpPr>
          <p:cNvPr id="2" name="Footer Placeholder 1"/>
          <p:cNvSpPr>
            <a:spLocks noGrp="1"/>
          </p:cNvSpPr>
          <p:nvPr>
            <p:ph type="ftr" sz="quarter" idx="13"/>
          </p:nvPr>
        </p:nvSpPr>
        <p:spPr>
          <a:xfrm flipH="1">
            <a:off x="625468" y="6537399"/>
            <a:ext cx="5366096" cy="161888"/>
          </a:xfrm>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381759463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28336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645654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No content Confidential">
    <p:spTree>
      <p:nvGrpSpPr>
        <p:cNvPr id="1" name=""/>
        <p:cNvGrpSpPr/>
        <p:nvPr/>
      </p:nvGrpSpPr>
      <p:grpSpPr>
        <a:xfrm>
          <a:off x="0" y="0"/>
          <a:ext cx="0" cy="0"/>
          <a:chOff x="0" y="0"/>
          <a:chExt cx="0" cy="0"/>
        </a:xfrm>
      </p:grpSpPr>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a:xfrm>
            <a:off x="10641035"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
        <p:nvSpPr>
          <p:cNvPr id="2" name="Titel 1"/>
          <p:cNvSpPr>
            <a:spLocks noGrp="1"/>
          </p:cNvSpPr>
          <p:nvPr>
            <p:ph type="title"/>
          </p:nvPr>
        </p:nvSpPr>
        <p:spPr/>
        <p:txBody>
          <a:bodyPr/>
          <a:lstStyle/>
          <a:p>
            <a:r>
              <a:rPr lang="en-US"/>
              <a:t>Click to edit Master title style</a:t>
            </a:r>
          </a:p>
        </p:txBody>
      </p:sp>
      <p:sp>
        <p:nvSpPr>
          <p:cNvPr id="7" name="TextBox 6"/>
          <p:cNvSpPr txBox="1"/>
          <p:nvPr userDrawn="1"/>
        </p:nvSpPr>
        <p:spPr>
          <a:xfrm>
            <a:off x="1589" y="6495394"/>
            <a:ext cx="3920605" cy="215444"/>
          </a:xfrm>
          <a:prstGeom prst="rect">
            <a:avLst/>
          </a:prstGeom>
          <a:noFill/>
        </p:spPr>
        <p:txBody>
          <a:bodyPr wrap="square" rtlCol="0">
            <a:spAutoFit/>
          </a:bodyPr>
          <a:lstStyle/>
          <a:p>
            <a:pPr defTabSz="607673"/>
            <a:r>
              <a:rPr lang="en-US" sz="800" dirty="0">
                <a:solidFill>
                  <a:srgbClr val="FF5800"/>
                </a:solidFill>
              </a:rPr>
              <a:t>&lt;Confidential&gt; </a:t>
            </a:r>
            <a:r>
              <a:rPr lang="en-US" sz="800" dirty="0">
                <a:solidFill>
                  <a:srgbClr val="464646"/>
                </a:solidFill>
              </a:rPr>
              <a:t>See Avanade’s </a:t>
            </a:r>
            <a:r>
              <a:rPr lang="en-US" sz="800" dirty="0">
                <a:solidFill>
                  <a:srgbClr val="FF5800"/>
                </a:solidFill>
                <a:hlinkClick r:id="rId3"/>
              </a:rPr>
              <a:t>Data Management Policy</a:t>
            </a:r>
            <a:endParaRPr lang="en-US" sz="800" dirty="0">
              <a:solidFill>
                <a:srgbClr val="FF5800"/>
              </a:solidFill>
            </a:endParaRPr>
          </a:p>
        </p:txBody>
      </p:sp>
    </p:spTree>
    <p:extLst>
      <p:ext uri="{BB962C8B-B14F-4D97-AF65-F5344CB8AC3E}">
        <p14:creationId xmlns:p14="http://schemas.microsoft.com/office/powerpoint/2010/main" val="15687031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2550" y="1500997"/>
            <a:ext cx="11126898" cy="4950993"/>
          </a:xfrm>
          <a:prstGeom prst="rect">
            <a:avLst/>
          </a:prstGeom>
        </p:spPr>
        <p:txBody>
          <a:bodyPr/>
          <a:lstStyle>
            <a:lvl1pPr>
              <a:defRPr sz="2000">
                <a:solidFill>
                  <a:schemeClr val="bg1">
                    <a:lumMod val="50000"/>
                  </a:schemeClr>
                </a:solidFill>
                <a:latin typeface="Segoe UI Light" panose="020B0502040204020203" pitchFamily="34" charset="0"/>
                <a:cs typeface="Segoe UI Light" panose="020B0502040204020203" pitchFamily="34" charset="0"/>
              </a:defRPr>
            </a:lvl1pPr>
            <a:lvl2pPr>
              <a:defRPr sz="1800">
                <a:solidFill>
                  <a:schemeClr val="bg1">
                    <a:lumMod val="50000"/>
                  </a:schemeClr>
                </a:solidFill>
                <a:latin typeface="Segoe UI Light" panose="020B0502040204020203" pitchFamily="34" charset="0"/>
                <a:cs typeface="Segoe UI Light" panose="020B0502040204020203" pitchFamily="34" charset="0"/>
              </a:defRPr>
            </a:lvl2pPr>
            <a:lvl3pPr>
              <a:defRPr sz="1600">
                <a:solidFill>
                  <a:schemeClr val="bg1">
                    <a:lumMod val="50000"/>
                  </a:schemeClr>
                </a:solidFill>
                <a:latin typeface="Segoe UI Light" panose="020B0502040204020203" pitchFamily="34" charset="0"/>
                <a:cs typeface="Segoe UI Light" panose="020B0502040204020203" pitchFamily="34" charset="0"/>
              </a:defRPr>
            </a:lvl3pPr>
            <a:lvl4pPr>
              <a:defRPr sz="1400">
                <a:solidFill>
                  <a:schemeClr val="bg1">
                    <a:lumMod val="50000"/>
                  </a:schemeClr>
                </a:solidFill>
                <a:latin typeface="Segoe UI Light" panose="020B0502040204020203" pitchFamily="34" charset="0"/>
                <a:cs typeface="Segoe UI Light" panose="020B0502040204020203" pitchFamily="34" charset="0"/>
              </a:defRPr>
            </a:lvl4pPr>
            <a:lvl5pPr>
              <a:defRPr sz="1400">
                <a:solidFill>
                  <a:schemeClr val="bg1">
                    <a:lumMod val="50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el 1"/>
          <p:cNvSpPr>
            <a:spLocks noGrp="1"/>
          </p:cNvSpPr>
          <p:nvPr>
            <p:ph type="title"/>
          </p:nvPr>
        </p:nvSpPr>
        <p:spPr>
          <a:xfrm>
            <a:off x="532744" y="274638"/>
            <a:ext cx="11126510" cy="639762"/>
          </a:xfrm>
          <a:prstGeom prst="rect">
            <a:avLst/>
          </a:prstGeom>
        </p:spPr>
        <p:txBody>
          <a:bodyPr anchor="b"/>
          <a:lstStyle/>
          <a:p>
            <a:r>
              <a:rPr lang="en-US" dirty="0"/>
              <a:t>Click to edit Master title style</a:t>
            </a:r>
          </a:p>
        </p:txBody>
      </p:sp>
      <p:sp>
        <p:nvSpPr>
          <p:cNvPr id="6" name="Text Placeholder 5"/>
          <p:cNvSpPr>
            <a:spLocks noGrp="1"/>
          </p:cNvSpPr>
          <p:nvPr>
            <p:ph type="body" sz="quarter" idx="10"/>
          </p:nvPr>
        </p:nvSpPr>
        <p:spPr>
          <a:xfrm>
            <a:off x="532744" y="923026"/>
            <a:ext cx="11126510"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25362936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ingle content unrestricte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2507" y="1282394"/>
            <a:ext cx="10988717" cy="459036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4"/>
          </p:nvPr>
        </p:nvSpPr>
        <p:spPr>
          <a:xfrm>
            <a:off x="10641036" y="6531623"/>
            <a:ext cx="1326024" cy="189852"/>
          </a:xfrm>
          <a:prstGeom prst="rect">
            <a:avLst/>
          </a:prstGeom>
        </p:spPr>
        <p:txBody>
          <a:bodyPr vert="horz" lIns="91440" tIns="45720" rIns="91440" bIns="45720" rtlCol="0" anchor="ctr"/>
          <a:lstStyle>
            <a:lvl1pPr algn="r">
              <a:defRPr sz="800">
                <a:solidFill>
                  <a:schemeClr val="tx1">
                    <a:tint val="75000"/>
                  </a:schemeClr>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68985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3"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2"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5"/>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5278726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67" name="think-cell Slide" r:id="rId4" imgW="425" imgH="426" progId="TCLayout.ActiveDocument.1">
                  <p:embed/>
                </p:oleObj>
              </mc:Choice>
              <mc:Fallback>
                <p:oleObj name="think-cell Slide" r:id="rId4" imgW="425" imgH="426" progId="TCLayout.ActiveDocument.1">
                  <p:embed/>
                  <p:pic>
                    <p:nvPicPr>
                      <p:cNvPr id="4" name="Objekt 3" hidden="1"/>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2" name="Footer Placeholder 1"/>
          <p:cNvSpPr>
            <a:spLocks noGrp="1"/>
          </p:cNvSpPr>
          <p:nvPr>
            <p:ph type="ftr" sz="quarter" idx="12"/>
          </p:nvPr>
        </p:nvSpPr>
        <p:spPr>
          <a:xfrm flipH="1">
            <a:off x="625468" y="6537399"/>
            <a:ext cx="5366096" cy="161888"/>
          </a:xfrm>
          <a:prstGeom prst="rect">
            <a:avLst/>
          </a:prstGeom>
        </p:spPr>
        <p:txBody>
          <a:bodyPr/>
          <a:lstStyle/>
          <a:p>
            <a:pPr defTabSz="607673"/>
            <a:endParaRPr lang="en-US" sz="2400" dirty="0">
              <a:solidFill>
                <a:srgbClr val="666666"/>
              </a:solidFill>
            </a:endParaRPr>
          </a:p>
        </p:txBody>
      </p:sp>
    </p:spTree>
    <p:extLst>
      <p:ext uri="{BB962C8B-B14F-4D97-AF65-F5344CB8AC3E}">
        <p14:creationId xmlns:p14="http://schemas.microsoft.com/office/powerpoint/2010/main" val="315928019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415106" cy="1563933"/>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5106782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8">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7" name="Rectangle 6"/>
          <p:cNvSpPr/>
          <p:nvPr userDrawn="1"/>
        </p:nvSpPr>
        <p:spPr>
          <a:xfrm>
            <a:off x="729399"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9" name="Rectangle 4"/>
          <p:cNvSpPr>
            <a:spLocks noGrp="1" noChangeArrowheads="1"/>
          </p:cNvSpPr>
          <p:nvPr>
            <p:ph type="ctrTitle" hasCustomPrompt="1"/>
          </p:nvPr>
        </p:nvSpPr>
        <p:spPr>
          <a:xfrm>
            <a:off x="1018125" y="2065731"/>
            <a:ext cx="4202541" cy="1248556"/>
          </a:xfrm>
          <a:prstGeom prst="rect">
            <a:avLst/>
          </a:prstGeom>
        </p:spPr>
        <p:txBody>
          <a:bodyPr lIns="71994"/>
          <a:lstStyle>
            <a:lvl1pPr>
              <a:lnSpc>
                <a:spcPct val="90000"/>
              </a:lnSpc>
              <a:defRPr sz="4400" baseline="0">
                <a:solidFill>
                  <a:schemeClr val="bg1"/>
                </a:solidFill>
              </a:defRPr>
            </a:lvl1pPr>
          </a:lstStyle>
          <a:p>
            <a:r>
              <a:rPr lang="en-US" dirty="0"/>
              <a:t>Digital designed for you</a:t>
            </a:r>
            <a:br>
              <a:rPr lang="en-US" dirty="0"/>
            </a:b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4272134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5">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30695" y="2481609"/>
            <a:ext cx="5006693"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br>
              <a:rPr lang="en-US" dirty="0"/>
            </a:br>
            <a:endParaRPr lang="en-US" dirty="0"/>
          </a:p>
        </p:txBody>
      </p:sp>
      <p:sp>
        <p:nvSpPr>
          <p:cNvPr id="7" name="Rectangle 6"/>
          <p:cNvSpPr/>
          <p:nvPr userDrawn="1"/>
        </p:nvSpPr>
        <p:spPr>
          <a:xfrm>
            <a:off x="722470"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744983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1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5" name="Rectangle 4"/>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29010" y="1090801"/>
            <a:ext cx="5154429" cy="1563933"/>
          </a:xfrm>
          <a:prstGeom prst="rect">
            <a:avLst/>
          </a:prstGeom>
        </p:spPr>
        <p:txBody>
          <a:bodyPr lIns="71994"/>
          <a:lstStyle>
            <a:lvl1pPr>
              <a:lnSpc>
                <a:spcPct val="90000"/>
              </a:lnSpc>
              <a:defRPr sz="4400" baseline="0">
                <a:solidFill>
                  <a:schemeClr val="bg1"/>
                </a:solidFill>
              </a:defRPr>
            </a:lvl1pPr>
          </a:lstStyle>
          <a:p>
            <a:r>
              <a:rPr lang="en-US" dirty="0"/>
              <a:t>Digital experiences anytime, anyplace</a:t>
            </a:r>
            <a:br>
              <a:rPr lang="en-US" dirty="0"/>
            </a:b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153008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8" cy="6856213"/>
          </a:xfrm>
          <a:prstGeom prst="rect">
            <a:avLst/>
          </a:prstGeom>
        </p:spPr>
      </p:pic>
      <p:sp>
        <p:nvSpPr>
          <p:cNvPr id="6" name="Rectangle 4"/>
          <p:cNvSpPr>
            <a:spLocks noGrp="1" noChangeArrowheads="1"/>
          </p:cNvSpPr>
          <p:nvPr>
            <p:ph type="ctrTitle" hasCustomPrompt="1"/>
          </p:nvPr>
        </p:nvSpPr>
        <p:spPr>
          <a:xfrm>
            <a:off x="1129010" y="1090801"/>
            <a:ext cx="4340026" cy="1563933"/>
          </a:xfrm>
          <a:prstGeom prst="rect">
            <a:avLst/>
          </a:prstGeom>
        </p:spPr>
        <p:txBody>
          <a:bodyPr lIns="71994"/>
          <a:lstStyle>
            <a:lvl1pPr>
              <a:lnSpc>
                <a:spcPct val="90000"/>
              </a:lnSpc>
              <a:defRPr sz="4400" baseline="0">
                <a:solidFill>
                  <a:schemeClr val="bg1"/>
                </a:solidFill>
              </a:defRPr>
            </a:lvl1pPr>
          </a:lstStyle>
          <a:p>
            <a:r>
              <a:rPr lang="en-US" dirty="0"/>
              <a:t>Digital transformation, your way</a:t>
            </a:r>
            <a:br>
              <a:rPr lang="en-US" dirty="0"/>
            </a:br>
            <a:endParaRPr lang="en-US" dirty="0"/>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11354604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0782"/>
            <a:ext cx="12192000" cy="6878782"/>
          </a:xfrm>
          <a:prstGeom prst="rect">
            <a:avLst/>
          </a:prstGeom>
        </p:spPr>
      </p:pic>
      <p:sp>
        <p:nvSpPr>
          <p:cNvPr id="6" name="Rectangle 4"/>
          <p:cNvSpPr>
            <a:spLocks noGrp="1" noChangeArrowheads="1"/>
          </p:cNvSpPr>
          <p:nvPr>
            <p:ph type="ctrTitle" hasCustomPrompt="1"/>
          </p:nvPr>
        </p:nvSpPr>
        <p:spPr>
          <a:xfrm>
            <a:off x="1130694" y="1090801"/>
            <a:ext cx="4638562" cy="1563933"/>
          </a:xfrm>
          <a:prstGeom prst="rect">
            <a:avLst/>
          </a:prstGeom>
        </p:spPr>
        <p:txBody>
          <a:bodyPr lIns="71994"/>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9012379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10" y="0"/>
            <a:ext cx="12194311" cy="6858000"/>
          </a:xfrm>
          <a:prstGeom prst="rect">
            <a:avLst/>
          </a:prstGeom>
        </p:spPr>
      </p:pic>
      <p:sp>
        <p:nvSpPr>
          <p:cNvPr id="6" name="Rectangle 4"/>
          <p:cNvSpPr>
            <a:spLocks noGrp="1" noChangeArrowheads="1"/>
          </p:cNvSpPr>
          <p:nvPr>
            <p:ph type="ctrTitle" hasCustomPrompt="1"/>
          </p:nvPr>
        </p:nvSpPr>
        <p:spPr>
          <a:xfrm>
            <a:off x="1130694" y="1090801"/>
            <a:ext cx="5046632"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282423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378142" y="6504259"/>
            <a:ext cx="406400" cy="199379"/>
          </a:xfrm>
          <a:prstGeom prst="rect">
            <a:avLst/>
          </a:prstGeom>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470866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10333" t="10130"/>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29010" y="962382"/>
            <a:ext cx="4569889" cy="1563933"/>
          </a:xfrm>
          <a:prstGeom prst="rect">
            <a:avLst/>
          </a:prstGeom>
        </p:spPr>
        <p:txBody>
          <a:bodyPr lIns="71994" anchor="t" anchorCtr="0"/>
          <a:lstStyle>
            <a:lvl1pPr>
              <a:lnSpc>
                <a:spcPct val="90000"/>
              </a:lnSpc>
              <a:defRPr sz="3600" baseline="0">
                <a:solidFill>
                  <a:schemeClr val="bg1"/>
                </a:solidFill>
              </a:defRPr>
            </a:lvl1pPr>
          </a:lstStyle>
          <a:p>
            <a:r>
              <a:rPr lang="en-US" dirty="0"/>
              <a:t>Data has the power to transform your business.</a:t>
            </a:r>
            <a:br>
              <a:rPr lang="en-US" dirty="0"/>
            </a:br>
            <a:r>
              <a:rPr lang="en-US" dirty="0"/>
              <a:t>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6051449"/>
            <a:ext cx="2258884" cy="653359"/>
          </a:xfrm>
          <a:prstGeom prst="rect">
            <a:avLst/>
          </a:prstGeom>
        </p:spPr>
      </p:pic>
    </p:spTree>
    <p:extLst>
      <p:ext uri="{BB962C8B-B14F-4D97-AF65-F5344CB8AC3E}">
        <p14:creationId xmlns:p14="http://schemas.microsoft.com/office/powerpoint/2010/main" val="267374276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400" baseline="0">
                <a:solidFill>
                  <a:schemeClr val="bg1"/>
                </a:solidFill>
              </a:defRPr>
            </a:lvl1pPr>
          </a:lstStyle>
          <a:p>
            <a:r>
              <a:rPr lang="en-US" dirty="0"/>
              <a:t>Digital that works the way you do</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69992273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5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45" r="-1" b="665"/>
          <a:stretch/>
        </p:blipFill>
        <p:spPr>
          <a:xfrm>
            <a:off x="0" y="-1"/>
            <a:ext cx="12207122" cy="6858001"/>
          </a:xfrm>
          <a:prstGeom prst="rect">
            <a:avLst/>
          </a:prstGeom>
        </p:spPr>
      </p:pic>
      <p:sp>
        <p:nvSpPr>
          <p:cNvPr id="6" name="Rectangle 4"/>
          <p:cNvSpPr>
            <a:spLocks noGrp="1" noChangeArrowheads="1"/>
          </p:cNvSpPr>
          <p:nvPr>
            <p:ph type="ctrTitle" hasCustomPrompt="1"/>
          </p:nvPr>
        </p:nvSpPr>
        <p:spPr>
          <a:xfrm>
            <a:off x="1129010" y="961201"/>
            <a:ext cx="4340026" cy="1563933"/>
          </a:xfrm>
          <a:prstGeom prst="rect">
            <a:avLst/>
          </a:prstGeom>
        </p:spPr>
        <p:txBody>
          <a:bodyPr lIns="71994" anchor="t" anchorCtr="0"/>
          <a:lstStyle>
            <a:lvl1pPr>
              <a:lnSpc>
                <a:spcPct val="90000"/>
              </a:lnSpc>
              <a:defRPr sz="40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87798380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6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2393" cy="6860309"/>
          </a:xfrm>
          <a:prstGeom prst="rect">
            <a:avLst/>
          </a:prstGeom>
        </p:spPr>
      </p:pic>
      <p:sp>
        <p:nvSpPr>
          <p:cNvPr id="6" name="Rectangle 4"/>
          <p:cNvSpPr>
            <a:spLocks noGrp="1" noChangeArrowheads="1"/>
          </p:cNvSpPr>
          <p:nvPr>
            <p:ph type="ctrTitle" hasCustomPrompt="1"/>
          </p:nvPr>
        </p:nvSpPr>
        <p:spPr>
          <a:xfrm>
            <a:off x="1130694" y="1090801"/>
            <a:ext cx="4497848" cy="1563933"/>
          </a:xfrm>
          <a:prstGeom prst="rect">
            <a:avLst/>
          </a:prstGeom>
        </p:spPr>
        <p:txBody>
          <a:bodyPr lIns="72000" anchor="t" anchorCtr="0"/>
          <a:lstStyle>
            <a:lvl1pPr>
              <a:lnSpc>
                <a:spcPct val="90000"/>
              </a:lnSpc>
              <a:defRPr sz="4400" b="0" baseline="0">
                <a:solidFill>
                  <a:schemeClr val="bg1"/>
                </a:solidFill>
              </a:defRPr>
            </a:lvl1pPr>
          </a:lstStyle>
          <a:p>
            <a:r>
              <a:rPr lang="en-US" dirty="0"/>
              <a:t>Digital designed for you</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72304403"/>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7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2317015"/>
            <a:ext cx="4340026" cy="1563933"/>
          </a:xfrm>
          <a:prstGeom prst="rect">
            <a:avLst/>
          </a:prstGeom>
        </p:spPr>
        <p:txBody>
          <a:bodyPr lIns="71994" anchor="b"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755973149"/>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8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t="192"/>
          <a:stretch/>
        </p:blipFill>
        <p:spPr>
          <a:xfrm>
            <a:off x="1" y="0"/>
            <a:ext cx="12192000" cy="6878782"/>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
        <p:nvSpPr>
          <p:cNvPr id="6" name="Rectangle 4"/>
          <p:cNvSpPr>
            <a:spLocks noGrp="1" noChangeArrowheads="1"/>
          </p:cNvSpPr>
          <p:nvPr>
            <p:ph type="ctrTitle" hasCustomPrompt="1"/>
          </p:nvPr>
        </p:nvSpPr>
        <p:spPr>
          <a:xfrm>
            <a:off x="1130695" y="961201"/>
            <a:ext cx="4340026" cy="1563933"/>
          </a:xfrm>
          <a:prstGeom prst="rect">
            <a:avLst/>
          </a:prstGeom>
        </p:spPr>
        <p:txBody>
          <a:bodyPr lIns="72000" anchor="t" anchorCtr="0"/>
          <a:lstStyle>
            <a:lvl1pPr>
              <a:lnSpc>
                <a:spcPct val="90000"/>
              </a:lnSpc>
              <a:defRPr sz="4400" baseline="0">
                <a:solidFill>
                  <a:schemeClr val="tx2"/>
                </a:solidFill>
              </a:defRPr>
            </a:lvl1pPr>
          </a:lstStyle>
          <a:p>
            <a:r>
              <a:rPr lang="en-US" dirty="0"/>
              <a:t>Digital experiences anytime, anyplace</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spTree>
    <p:extLst>
      <p:ext uri="{BB962C8B-B14F-4D97-AF65-F5344CB8AC3E}">
        <p14:creationId xmlns:p14="http://schemas.microsoft.com/office/powerpoint/2010/main" val="137959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9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634"/>
          <a:stretch/>
        </p:blipFill>
        <p:spPr>
          <a:xfrm>
            <a:off x="1" y="0"/>
            <a:ext cx="12192000" cy="6858000"/>
          </a:xfrm>
          <a:prstGeom prst="rect">
            <a:avLst/>
          </a:prstGeom>
        </p:spPr>
      </p:pic>
      <p:sp>
        <p:nvSpPr>
          <p:cNvPr id="6" name="Rectangle 4"/>
          <p:cNvSpPr>
            <a:spLocks noGrp="1" noChangeArrowheads="1"/>
          </p:cNvSpPr>
          <p:nvPr>
            <p:ph type="ctrTitle" hasCustomPrompt="1"/>
          </p:nvPr>
        </p:nvSpPr>
        <p:spPr>
          <a:xfrm>
            <a:off x="1130694" y="961201"/>
            <a:ext cx="4596348" cy="1563933"/>
          </a:xfrm>
          <a:prstGeom prst="rect">
            <a:avLst/>
          </a:prstGeom>
        </p:spPr>
        <p:txBody>
          <a:bodyPr lIns="72000" anchor="t" anchorCtr="0"/>
          <a:lstStyle>
            <a:lvl1pPr>
              <a:lnSpc>
                <a:spcPct val="90000"/>
              </a:lnSpc>
              <a:defRPr sz="3600" baseline="0">
                <a:solidFill>
                  <a:schemeClr val="bg1"/>
                </a:solidFill>
              </a:defRPr>
            </a:lvl1pPr>
          </a:lstStyle>
          <a:p>
            <a:r>
              <a:rPr lang="en-US" dirty="0"/>
              <a:t>The harder your data works, the stronger your business gets. What’s your data doing right now?</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1413570941"/>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0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0413" cy="6858000"/>
          </a:xfrm>
          <a:prstGeom prst="rect">
            <a:avLst/>
          </a:prstGeom>
        </p:spPr>
      </p:pic>
      <p:sp>
        <p:nvSpPr>
          <p:cNvPr id="2" name="Rectangle 1"/>
          <p:cNvSpPr/>
          <p:nvPr userDrawn="1"/>
        </p:nvSpPr>
        <p:spPr>
          <a:xfrm>
            <a:off x="0" y="0"/>
            <a:ext cx="12190414" cy="6858000"/>
          </a:xfrm>
          <a:prstGeom prst="rect">
            <a:avLst/>
          </a:prstGeom>
          <a:gradFill flip="none" rotWithShape="1">
            <a:gsLst>
              <a:gs pos="0">
                <a:schemeClr val="bg1">
                  <a:alpha val="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6" name="Rectangle 4"/>
          <p:cNvSpPr>
            <a:spLocks noGrp="1" noChangeArrowheads="1"/>
          </p:cNvSpPr>
          <p:nvPr>
            <p:ph type="ctrTitle" hasCustomPrompt="1"/>
          </p:nvPr>
        </p:nvSpPr>
        <p:spPr>
          <a:xfrm>
            <a:off x="1130694" y="1074926"/>
            <a:ext cx="3963137" cy="1563933"/>
          </a:xfrm>
          <a:prstGeom prst="rect">
            <a:avLst/>
          </a:prstGeom>
        </p:spPr>
        <p:txBody>
          <a:bodyPr lIns="72000" anchor="t" anchorCtr="0"/>
          <a:lstStyle>
            <a:lvl1pPr>
              <a:lnSpc>
                <a:spcPct val="90000"/>
              </a:lnSpc>
              <a:defRPr sz="3400" baseline="0">
                <a:solidFill>
                  <a:schemeClr val="bg1"/>
                </a:solidFill>
              </a:defRPr>
            </a:lvl1pPr>
          </a:lstStyle>
          <a:p>
            <a:r>
              <a:rPr lang="en-US" dirty="0"/>
              <a:t>From chaos to clarity - deliver digital experiences that matter</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0670" y="5924837"/>
            <a:ext cx="2258884" cy="653359"/>
          </a:xfrm>
          <a:prstGeom prst="rect">
            <a:avLst/>
          </a:prstGeom>
        </p:spPr>
      </p:pic>
    </p:spTree>
    <p:extLst>
      <p:ext uri="{BB962C8B-B14F-4D97-AF65-F5344CB8AC3E}">
        <p14:creationId xmlns:p14="http://schemas.microsoft.com/office/powerpoint/2010/main" val="3182797517"/>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1_Divider page – Image 07">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414" cy="6858002"/>
          </a:xfrm>
          <a:prstGeom prst="rect">
            <a:avLst/>
          </a:prstGeom>
        </p:spPr>
      </p:pic>
      <p:sp>
        <p:nvSpPr>
          <p:cNvPr id="6" name="Rectangle 4"/>
          <p:cNvSpPr>
            <a:spLocks noGrp="1" noChangeArrowheads="1"/>
          </p:cNvSpPr>
          <p:nvPr>
            <p:ph type="ctrTitle" hasCustomPrompt="1"/>
          </p:nvPr>
        </p:nvSpPr>
        <p:spPr>
          <a:xfrm>
            <a:off x="1130695" y="985873"/>
            <a:ext cx="4340026" cy="1563933"/>
          </a:xfrm>
          <a:prstGeom prst="rect">
            <a:avLst/>
          </a:prstGeom>
        </p:spPr>
        <p:txBody>
          <a:bodyPr lIns="72000" anchor="t" anchorCtr="0"/>
          <a:lstStyle>
            <a:lvl1pPr>
              <a:lnSpc>
                <a:spcPct val="90000"/>
              </a:lnSpc>
              <a:defRPr sz="4400" baseline="0">
                <a:solidFill>
                  <a:schemeClr val="bg1"/>
                </a:solidFill>
              </a:defRPr>
            </a:lvl1pPr>
          </a:lstStyle>
          <a:p>
            <a:r>
              <a:rPr lang="en-US" dirty="0"/>
              <a:t>Digital transformation, your way</a:t>
            </a:r>
          </a:p>
        </p:txBody>
      </p:sp>
      <p:sp>
        <p:nvSpPr>
          <p:cNvPr id="7" name="Rectangle 6"/>
          <p:cNvSpPr/>
          <p:nvPr userDrawn="1"/>
        </p:nvSpPr>
        <p:spPr>
          <a:xfrm>
            <a:off x="724092" y="660401"/>
            <a:ext cx="10823219" cy="4259943"/>
          </a:xfrm>
          <a:prstGeom prst="rect">
            <a:avLst/>
          </a:prstGeom>
          <a:noFill/>
          <a:ln w="1905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a:solidFill>
                <a:prstClr val="white"/>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2354" y="5949834"/>
            <a:ext cx="2215518" cy="603367"/>
          </a:xfrm>
          <a:prstGeom prst="rect">
            <a:avLst/>
          </a:prstGeom>
        </p:spPr>
      </p:pic>
    </p:spTree>
    <p:extLst>
      <p:ext uri="{BB962C8B-B14F-4D97-AF65-F5344CB8AC3E}">
        <p14:creationId xmlns:p14="http://schemas.microsoft.com/office/powerpoint/2010/main" val="3049840755"/>
      </p:ext>
    </p:extLst>
  </p:cSld>
  <p:clrMapOvr>
    <a:masterClrMapping/>
  </p:clrMapOvr>
  <p:extLst mod="1">
    <p:ext uri="{DCECCB84-F9BA-43D5-87BE-67443E8EF086}">
      <p15:sldGuideLst xmlns:p15="http://schemas.microsoft.com/office/powerpoint/2012/main">
        <p15:guide id="1" orient="horz" pos="2160">
          <p15:clr>
            <a:srgbClr val="FBAE40"/>
          </p15:clr>
        </p15:guide>
        <p15:guide id="2" pos="3839">
          <p15:clr>
            <a:srgbClr val="FBAE40"/>
          </p15:clr>
        </p15:guide>
        <p15:guide id="3"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498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3378375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0200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Autofit/>
          </a:bodyPr>
          <a:lstStyle/>
          <a:p>
            <a:r>
              <a:rPr lang="en-US" dirty="0"/>
              <a:t>Click to edit Master title style</a:t>
            </a:r>
            <a:endParaRPr lang="en-AU" dirty="0"/>
          </a:p>
        </p:txBody>
      </p:sp>
    </p:spTree>
    <p:extLst>
      <p:ext uri="{BB962C8B-B14F-4D97-AF65-F5344CB8AC3E}">
        <p14:creationId xmlns:p14="http://schemas.microsoft.com/office/powerpoint/2010/main" val="21438663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5732" y="1219200"/>
            <a:ext cx="11280538" cy="4724400"/>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6068899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55732" y="1219201"/>
            <a:ext cx="5487829"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2"/>
          </p:nvPr>
        </p:nvSpPr>
        <p:spPr>
          <a:xfrm>
            <a:off x="6248441" y="1219201"/>
            <a:ext cx="5473434" cy="4749519"/>
          </a:xfrm>
          <a:prstGeom prst="rect">
            <a:avLst/>
          </a:prstGeom>
        </p:spPr>
        <p:txBody>
          <a:bodyPr lIns="0"/>
          <a:lstStyle>
            <a:lvl1pPr>
              <a:lnSpc>
                <a:spcPct val="100000"/>
              </a:lnSpc>
              <a:defRPr>
                <a:solidFill>
                  <a:schemeClr val="bg2">
                    <a:lumMod val="25000"/>
                  </a:schemeClr>
                </a:solidFill>
              </a:defRPr>
            </a:lvl1pPr>
            <a:lvl2pPr>
              <a:lnSpc>
                <a:spcPct val="100000"/>
              </a:lnSpc>
              <a:defRPr>
                <a:solidFill>
                  <a:schemeClr val="bg2">
                    <a:lumMod val="25000"/>
                  </a:schemeClr>
                </a:solidFill>
              </a:defRPr>
            </a:lvl2pPr>
            <a:lvl3pPr>
              <a:lnSpc>
                <a:spcPct val="100000"/>
              </a:lnSpc>
              <a:defRPr>
                <a:solidFill>
                  <a:schemeClr val="bg2">
                    <a:lumMod val="25000"/>
                  </a:schemeClr>
                </a:solidFill>
              </a:defRPr>
            </a:lvl3pPr>
            <a:lvl4pPr>
              <a:lnSpc>
                <a:spcPct val="100000"/>
              </a:lnSpc>
              <a:defRPr>
                <a:solidFill>
                  <a:schemeClr val="bg2">
                    <a:lumMod val="25000"/>
                  </a:schemeClr>
                </a:solidFill>
              </a:defRPr>
            </a:lvl4pPr>
            <a:lvl5pPr>
              <a:lnSpc>
                <a:spcPct val="100000"/>
              </a:lnSpc>
              <a:defRPr>
                <a:solidFill>
                  <a:schemeClr val="bg2">
                    <a:lumMod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6"/>
          <p:cNvSpPr>
            <a:spLocks noGrp="1"/>
          </p:cNvSpPr>
          <p:nvPr>
            <p:ph type="sldNum" sz="quarter" idx="12"/>
          </p:nvPr>
        </p:nvSpPr>
        <p:spPr>
          <a:xfrm>
            <a:off x="8979548" y="6334973"/>
            <a:ext cx="2742326" cy="365125"/>
          </a:xfrm>
        </p:spPr>
        <p:txBody>
          <a:bodyPr/>
          <a:lstStyle/>
          <a:p>
            <a:fld id="{D23C339E-6384-4B7D-8AAA-399CE7159230}" type="slidenum">
              <a:rPr lang="en-US" smtClean="0">
                <a:solidFill>
                  <a:srgbClr val="BCBDBC">
                    <a:lumMod val="25000"/>
                  </a:srgbClr>
                </a:solidFill>
              </a:rPr>
              <a:pPr/>
              <a:t>‹#›</a:t>
            </a:fld>
            <a:endParaRPr lang="en-US">
              <a:solidFill>
                <a:srgbClr val="BCBDBC">
                  <a:lumMod val="25000"/>
                </a:srgbClr>
              </a:solidFill>
            </a:endParaRPr>
          </a:p>
        </p:txBody>
      </p:sp>
    </p:spTree>
    <p:extLst>
      <p:ext uri="{BB962C8B-B14F-4D97-AF65-F5344CB8AC3E}">
        <p14:creationId xmlns:p14="http://schemas.microsoft.com/office/powerpoint/2010/main" val="23774419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object 3"/>
          <p:cNvSpPr/>
          <p:nvPr userDrawn="1"/>
        </p:nvSpPr>
        <p:spPr>
          <a:xfrm>
            <a:off x="1" y="1"/>
            <a:ext cx="12192000"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8" name="Rectangle 7"/>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3"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1614164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object 3"/>
          <p:cNvSpPr/>
          <p:nvPr userDrawn="1"/>
        </p:nvSpPr>
        <p:spPr>
          <a:xfrm>
            <a:off x="1" y="1"/>
            <a:ext cx="12192000" cy="6853375"/>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10" name="Rectangle 5"/>
          <p:cNvSpPr txBox="1">
            <a:spLocks noChangeArrowheads="1"/>
          </p:cNvSpPr>
          <p:nvPr userDrawn="1"/>
        </p:nvSpPr>
        <p:spPr bwMode="auto">
          <a:xfrm>
            <a:off x="4852504"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 2015 Avanade Inc. All Rights Reserved.</a:t>
            </a:r>
          </a:p>
        </p:txBody>
      </p:sp>
      <p:sp>
        <p:nvSpPr>
          <p:cNvPr id="15" name="Slide Number Placeholder 5"/>
          <p:cNvSpPr txBox="1">
            <a:spLocks/>
          </p:cNvSpPr>
          <p:nvPr userDrawn="1"/>
        </p:nvSpPr>
        <p:spPr>
          <a:xfrm>
            <a:off x="8981853" y="6356351"/>
            <a:ext cx="2742326" cy="340372"/>
          </a:xfrm>
          <a:prstGeom prst="rect">
            <a:avLst/>
          </a:prstGeom>
        </p:spPr>
        <p:txBody>
          <a:bodyPr vert="horz" lIns="91440" tIns="45720" rIns="91440" bIns="45720" rtlCol="0" anchor="ctr"/>
          <a:lstStyle>
            <a:defPPr>
              <a:defRPr lang="en-US"/>
            </a:defPPr>
            <a:lvl1pPr marL="0" algn="r" defTabSz="607673" rtl="0" eaLnBrk="1" latinLnBrk="0" hangingPunct="1">
              <a:defRPr sz="1200" kern="1200">
                <a:solidFill>
                  <a:schemeClr val="bg1"/>
                </a:solidFill>
                <a:latin typeface="Segoe UI" panose="020B0502040204020203" pitchFamily="34" charset="0"/>
                <a:ea typeface="+mn-ea"/>
                <a:cs typeface="Segoe UI" panose="020B0502040204020203" pitchFamily="34" charset="0"/>
              </a:defRPr>
            </a:lvl1pPr>
            <a:lvl2pPr marL="607673" algn="l" defTabSz="607673" rtl="0" eaLnBrk="1" latinLnBrk="0" hangingPunct="1">
              <a:defRPr sz="2400" kern="1200">
                <a:solidFill>
                  <a:schemeClr val="tx1"/>
                </a:solidFill>
                <a:latin typeface="+mn-lt"/>
                <a:ea typeface="+mn-ea"/>
                <a:cs typeface="+mn-cs"/>
              </a:defRPr>
            </a:lvl2pPr>
            <a:lvl3pPr marL="1215346" algn="l" defTabSz="607673" rtl="0" eaLnBrk="1" latinLnBrk="0" hangingPunct="1">
              <a:defRPr sz="2400" kern="1200">
                <a:solidFill>
                  <a:schemeClr val="tx1"/>
                </a:solidFill>
                <a:latin typeface="+mn-lt"/>
                <a:ea typeface="+mn-ea"/>
                <a:cs typeface="+mn-cs"/>
              </a:defRPr>
            </a:lvl3pPr>
            <a:lvl4pPr marL="1823018" algn="l" defTabSz="607673" rtl="0" eaLnBrk="1" latinLnBrk="0" hangingPunct="1">
              <a:defRPr sz="2400" kern="1200">
                <a:solidFill>
                  <a:schemeClr val="tx1"/>
                </a:solidFill>
                <a:latin typeface="+mn-lt"/>
                <a:ea typeface="+mn-ea"/>
                <a:cs typeface="+mn-cs"/>
              </a:defRPr>
            </a:lvl4pPr>
            <a:lvl5pPr marL="2430685" algn="l" defTabSz="607673" rtl="0" eaLnBrk="1" latinLnBrk="0" hangingPunct="1">
              <a:defRPr sz="2400" kern="1200">
                <a:solidFill>
                  <a:schemeClr val="tx1"/>
                </a:solidFill>
                <a:latin typeface="+mn-lt"/>
                <a:ea typeface="+mn-ea"/>
                <a:cs typeface="+mn-cs"/>
              </a:defRPr>
            </a:lvl5pPr>
            <a:lvl6pPr marL="3038345" algn="l" defTabSz="607673" rtl="0" eaLnBrk="1" latinLnBrk="0" hangingPunct="1">
              <a:defRPr sz="2400" kern="1200">
                <a:solidFill>
                  <a:schemeClr val="tx1"/>
                </a:solidFill>
                <a:latin typeface="+mn-lt"/>
                <a:ea typeface="+mn-ea"/>
                <a:cs typeface="+mn-cs"/>
              </a:defRPr>
            </a:lvl6pPr>
            <a:lvl7pPr marL="3646032" algn="l" defTabSz="607673" rtl="0" eaLnBrk="1" latinLnBrk="0" hangingPunct="1">
              <a:defRPr sz="2400" kern="1200">
                <a:solidFill>
                  <a:schemeClr val="tx1"/>
                </a:solidFill>
                <a:latin typeface="+mn-lt"/>
                <a:ea typeface="+mn-ea"/>
                <a:cs typeface="+mn-cs"/>
              </a:defRPr>
            </a:lvl7pPr>
            <a:lvl8pPr marL="4253689" algn="l" defTabSz="607673" rtl="0" eaLnBrk="1" latinLnBrk="0" hangingPunct="1">
              <a:defRPr sz="2400" kern="1200">
                <a:solidFill>
                  <a:schemeClr val="tx1"/>
                </a:solidFill>
                <a:latin typeface="+mn-lt"/>
                <a:ea typeface="+mn-ea"/>
                <a:cs typeface="+mn-cs"/>
              </a:defRPr>
            </a:lvl8pPr>
            <a:lvl9pPr marL="4861345" algn="l" defTabSz="607673" rtl="0" eaLnBrk="1" latinLnBrk="0" hangingPunct="1">
              <a:defRPr sz="2400" kern="1200">
                <a:solidFill>
                  <a:schemeClr val="tx1"/>
                </a:solidFill>
                <a:latin typeface="+mn-lt"/>
                <a:ea typeface="+mn-ea"/>
                <a:cs typeface="+mn-cs"/>
              </a:defRPr>
            </a:lvl9pPr>
          </a:lstStyle>
          <a:p>
            <a:fld id="{D23C339E-6384-4B7D-8AAA-399CE7159230}" type="slidenum">
              <a:rPr lang="en-US" sz="1200" smtClean="0">
                <a:solidFill>
                  <a:prstClr val="white"/>
                </a:solidFill>
              </a:rPr>
              <a:pPr/>
              <a:t>‹#›</a:t>
            </a:fld>
            <a:endParaRPr lang="en-US" sz="1200" dirty="0">
              <a:solidFill>
                <a:prstClr val="white"/>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
        <p:nvSpPr>
          <p:cNvPr id="17" name="Rectangle 16"/>
          <p:cNvSpPr/>
          <p:nvPr userDrawn="1"/>
        </p:nvSpPr>
        <p:spPr>
          <a:xfrm>
            <a:off x="512897" y="4284178"/>
            <a:ext cx="11162907" cy="1548000"/>
          </a:xfrm>
          <a:prstGeom prst="rect">
            <a:avLst/>
          </a:prstGeom>
          <a:noFill/>
          <a:ln w="11112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3" tIns="45716" rIns="91433" bIns="45716" rtlCol="0" anchor="ctr"/>
          <a:lstStyle/>
          <a:p>
            <a:pPr algn="ctr" defTabSz="607673"/>
            <a:endParaRPr lang="en-US" sz="2400" dirty="0">
              <a:solidFill>
                <a:srgbClr val="F86223"/>
              </a:solidFill>
            </a:endParaRPr>
          </a:p>
        </p:txBody>
      </p:sp>
    </p:spTree>
    <p:extLst>
      <p:ext uri="{BB962C8B-B14F-4D97-AF65-F5344CB8AC3E}">
        <p14:creationId xmlns:p14="http://schemas.microsoft.com/office/powerpoint/2010/main" val="26586011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12" name="object 3"/>
          <p:cNvSpPr/>
          <p:nvPr userDrawn="1"/>
        </p:nvSpPr>
        <p:spPr>
          <a:xfrm>
            <a:off x="1" y="0"/>
            <a:ext cx="12192000" cy="6858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defTabSz="607673"/>
            <a:endParaRPr sz="2400">
              <a:solidFill>
                <a:prstClr val="black"/>
              </a:solidFill>
            </a:endParaRPr>
          </a:p>
        </p:txBody>
      </p:sp>
      <p:sp>
        <p:nvSpPr>
          <p:cNvPr id="4" name="Rectangle 3"/>
          <p:cNvSpPr/>
          <p:nvPr userDrawn="1"/>
        </p:nvSpPr>
        <p:spPr>
          <a:xfrm>
            <a:off x="1" y="0"/>
            <a:ext cx="12192000" cy="6858000"/>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673"/>
            <a:endParaRPr lang="en-US" sz="2400">
              <a:solidFill>
                <a:prstClr val="white"/>
              </a:solidFill>
            </a:endParaRPr>
          </a:p>
        </p:txBody>
      </p:sp>
      <p:sp>
        <p:nvSpPr>
          <p:cNvPr id="5" name="Slide Number Placeholder 5"/>
          <p:cNvSpPr>
            <a:spLocks noGrp="1"/>
          </p:cNvSpPr>
          <p:nvPr>
            <p:ph type="sldNum" sz="quarter" idx="4"/>
          </p:nvPr>
        </p:nvSpPr>
        <p:spPr>
          <a:xfrm>
            <a:off x="8981853" y="6356351"/>
            <a:ext cx="2742326" cy="340372"/>
          </a:xfrm>
          <a:prstGeom prst="rect">
            <a:avLst/>
          </a:prstGeom>
        </p:spPr>
        <p:txBody>
          <a:bodyPr vert="horz" lIns="91440" tIns="45720" rIns="91440" bIns="45720" rtlCol="0" anchor="ctr"/>
          <a:lstStyle>
            <a:lvl1pPr algn="r">
              <a:defRPr sz="1200">
                <a:solidFill>
                  <a:schemeClr val="bg1"/>
                </a:solidFill>
                <a:latin typeface="Segoe UI" panose="020B0502040204020203" pitchFamily="34" charset="0"/>
                <a:cs typeface="Segoe UI" panose="020B0502040204020203" pitchFamily="34" charset="0"/>
              </a:defRPr>
            </a:lvl1pPr>
          </a:lstStyle>
          <a:p>
            <a:fld id="{D23C339E-6384-4B7D-8AAA-399CE7159230}" type="slidenum">
              <a:rPr lang="en-US" smtClean="0">
                <a:solidFill>
                  <a:prstClr val="white"/>
                </a:solidFill>
              </a:rPr>
              <a:pPr/>
              <a:t>‹#›</a:t>
            </a:fld>
            <a:endParaRPr lang="en-US">
              <a:solidFill>
                <a:prstClr val="white"/>
              </a:solidFill>
            </a:endParaRPr>
          </a:p>
        </p:txBody>
      </p:sp>
      <p:sp>
        <p:nvSpPr>
          <p:cNvPr id="6" name="Rectangle 5"/>
          <p:cNvSpPr txBox="1">
            <a:spLocks noChangeArrowheads="1"/>
          </p:cNvSpPr>
          <p:nvPr userDrawn="1"/>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prstClr val="white"/>
                </a:solidFill>
                <a:latin typeface="Segoe UI" panose="020B0502040204020203" pitchFamily="34" charset="0"/>
                <a:cs typeface="Segoe UI" panose="020B0502040204020203" pitchFamily="34" charset="0"/>
              </a:rPr>
              <a:t>©2016 Avanade Inc. All Rights Reserved.</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732" y="6323658"/>
            <a:ext cx="1286272" cy="372041"/>
          </a:xfrm>
          <a:prstGeom prst="rect">
            <a:avLst/>
          </a:prstGeom>
        </p:spPr>
      </p:pic>
    </p:spTree>
    <p:extLst>
      <p:ext uri="{BB962C8B-B14F-4D97-AF65-F5344CB8AC3E}">
        <p14:creationId xmlns:p14="http://schemas.microsoft.com/office/powerpoint/2010/main" val="33625200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268928" y="1703449"/>
            <a:ext cx="11653523" cy="44827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a:xfrm>
            <a:off x="3854940" y="6455177"/>
            <a:ext cx="4482124" cy="358621"/>
          </a:xfrm>
          <a:prstGeom prst="rect">
            <a:avLst/>
          </a:prstGeom>
        </p:spPr>
        <p:txBody>
          <a:bodyPr/>
          <a:lstStyle/>
          <a:p>
            <a:pPr defTabSz="607673"/>
            <a:endParaRPr lang="en-US" sz="2400" dirty="0">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     </a:t>
            </a:r>
            <a:fld id="{06CBF1F6-5712-4539-B263-770AB7E3CAE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7057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4543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1" y="0"/>
            <a:ext cx="12192000" cy="6163056"/>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41"/>
            <a:endParaRPr lang="en-GB" sz="1799">
              <a:solidFill>
                <a:srgbClr val="FFFFFF"/>
              </a:solidFill>
            </a:endParaRPr>
          </a:p>
        </p:txBody>
      </p:sp>
      <p:pic>
        <p:nvPicPr>
          <p:cNvPr id="3" name="Picture 2" descr="GreenBlocks_0000_ScreenRes_RGB.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175" y="0"/>
            <a:ext cx="12195176" cy="6163056"/>
          </a:xfrm>
          <a:prstGeom prst="rect">
            <a:avLst/>
          </a:prstGeom>
        </p:spPr>
      </p:pic>
      <p:sp>
        <p:nvSpPr>
          <p:cNvPr id="5" name="Rectangle 4"/>
          <p:cNvSpPr/>
          <p:nvPr userDrawn="1"/>
        </p:nvSpPr>
        <p:spPr>
          <a:xfrm>
            <a:off x="680899" y="660400"/>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pic>
        <p:nvPicPr>
          <p:cNvPr id="8" name="Picture 7" descr="GreenBlocks_0000_ScreenRes_RGB.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4930704" y="2"/>
            <a:ext cx="7261298" cy="3041501"/>
          </a:xfrm>
          <a:prstGeom prst="rect">
            <a:avLst/>
          </a:prstGeom>
        </p:spPr>
      </p:pic>
      <p:sp>
        <p:nvSpPr>
          <p:cNvPr id="14" name="Title 1"/>
          <p:cNvSpPr>
            <a:spLocks noGrp="1"/>
          </p:cNvSpPr>
          <p:nvPr>
            <p:ph type="title"/>
          </p:nvPr>
        </p:nvSpPr>
        <p:spPr>
          <a:xfrm>
            <a:off x="675222" y="2540628"/>
            <a:ext cx="10850035" cy="914400"/>
          </a:xfrm>
        </p:spPr>
        <p:txBody>
          <a:bodyPr/>
          <a:lstStyle>
            <a:lvl1pPr algn="ctr">
              <a:defRPr sz="4948"/>
            </a:lvl1pPr>
          </a:lstStyle>
          <a:p>
            <a:r>
              <a:rPr lang="en-US" dirty="0"/>
              <a:t>Click to edit Master title style</a:t>
            </a:r>
          </a:p>
        </p:txBody>
      </p:sp>
    </p:spTree>
    <p:extLst>
      <p:ext uri="{BB962C8B-B14F-4D97-AF65-F5344CB8AC3E}">
        <p14:creationId xmlns:p14="http://schemas.microsoft.com/office/powerpoint/2010/main" val="6870134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2"/>
            <a:ext cx="12192000" cy="1321250"/>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4"/>
            <a:ext cx="10850035" cy="4422775"/>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181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0"/>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el 1"/>
          <p:cNvSpPr>
            <a:spLocks noGrp="1"/>
          </p:cNvSpPr>
          <p:nvPr>
            <p:ph type="title"/>
          </p:nvPr>
        </p:nvSpPr>
        <p:spPr>
          <a:xfrm>
            <a:off x="960792" y="274638"/>
            <a:ext cx="10270415" cy="639762"/>
          </a:xfrm>
          <a:prstGeom prst="rect">
            <a:avLst/>
          </a:prstGeom>
        </p:spPr>
        <p:txBody>
          <a:bodyPr anchor="b"/>
          <a:lstStyle/>
          <a:p>
            <a:r>
              <a:rPr lang="en-US" dirty="0"/>
              <a:t>Click to edit Master title style</a:t>
            </a:r>
          </a:p>
        </p:txBody>
      </p:sp>
      <p:sp>
        <p:nvSpPr>
          <p:cNvPr id="8" name="Text Placeholder 5"/>
          <p:cNvSpPr>
            <a:spLocks noGrp="1"/>
          </p:cNvSpPr>
          <p:nvPr>
            <p:ph type="body" sz="quarter" idx="10"/>
          </p:nvPr>
        </p:nvSpPr>
        <p:spPr>
          <a:xfrm>
            <a:off x="960792" y="923026"/>
            <a:ext cx="10270415" cy="431321"/>
          </a:xfrm>
          <a:prstGeom prst="rect">
            <a:avLst/>
          </a:prstGeom>
        </p:spPr>
        <p:txBody>
          <a:bodyPr/>
          <a:lstStyle>
            <a:lvl1pPr marL="0" indent="0">
              <a:buNone/>
              <a:defRPr sz="2400">
                <a:solidFill>
                  <a:schemeClr val="accent1">
                    <a:lumMod val="60000"/>
                    <a:lumOff val="40000"/>
                  </a:schemeClr>
                </a:solidFill>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4944121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4" name="Picture 3" descr="Ink_Drop_PrintRes_PPT_banner_crop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92223"/>
          <a:stretch/>
        </p:blipFill>
        <p:spPr>
          <a:xfrm>
            <a:off x="1" y="1"/>
            <a:ext cx="12192000" cy="1321251"/>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5" name="Content Placeholder 2"/>
          <p:cNvSpPr>
            <a:spLocks noGrp="1"/>
          </p:cNvSpPr>
          <p:nvPr>
            <p:ph idx="1"/>
          </p:nvPr>
        </p:nvSpPr>
        <p:spPr>
          <a:xfrm>
            <a:off x="675222" y="1441827"/>
            <a:ext cx="5304901" cy="4876799"/>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6128892" y="1441825"/>
            <a:ext cx="5304901" cy="4876798"/>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48235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Segoe">
    <p:spTree>
      <p:nvGrpSpPr>
        <p:cNvPr id="1" name=""/>
        <p:cNvGrpSpPr/>
        <p:nvPr/>
      </p:nvGrpSpPr>
      <p:grpSpPr>
        <a:xfrm>
          <a:off x="0" y="0"/>
          <a:ext cx="0" cy="0"/>
          <a:chOff x="0" y="0"/>
          <a:chExt cx="0" cy="0"/>
        </a:xfrm>
      </p:grpSpPr>
      <p:sp>
        <p:nvSpPr>
          <p:cNvPr id="3" name="Title 2"/>
          <p:cNvSpPr>
            <a:spLocks noGrp="1"/>
          </p:cNvSpPr>
          <p:nvPr>
            <p:ph type="title"/>
          </p:nvPr>
        </p:nvSpPr>
        <p:spPr>
          <a:xfrm>
            <a:off x="221573" y="190529"/>
            <a:ext cx="11524433" cy="1063487"/>
          </a:xfrm>
        </p:spPr>
        <p:txBody>
          <a:bodyPr/>
          <a:lstStyle>
            <a:lvl1pPr>
              <a:defRPr>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Content Placeholder 5"/>
          <p:cNvSpPr>
            <a:spLocks noGrp="1"/>
          </p:cNvSpPr>
          <p:nvPr>
            <p:ph sz="quarter" idx="10"/>
          </p:nvPr>
        </p:nvSpPr>
        <p:spPr>
          <a:xfrm>
            <a:off x="379414" y="1388227"/>
            <a:ext cx="11525250" cy="5290388"/>
          </a:xfrm>
          <a:prstGeom prst="rect">
            <a:avLst/>
          </a:prstGeom>
        </p:spPr>
        <p:txBody>
          <a:bodyPr/>
          <a:lstStyle>
            <a:lvl1pPr>
              <a:spcBef>
                <a:spcPts val="1049"/>
              </a:spcBef>
              <a:defRPr b="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a:defRPr>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a:defRPr>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a:defRPr>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a:defRPr>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52660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6_Gray_BG_Divider_noPeopl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921" y="2"/>
            <a:ext cx="12192000" cy="5750483"/>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41"/>
            <a:endParaRPr lang="en-GB" sz="1799">
              <a:solidFill>
                <a:srgbClr val="FFFFFF"/>
              </a:solidFill>
            </a:endParaRPr>
          </a:p>
        </p:txBody>
      </p:sp>
      <p:pic>
        <p:nvPicPr>
          <p:cNvPr id="10" name="Picture 9" descr="GreenBlocks_1548_PrintRes_RGB_297w-150dpi.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560353" y="-21974"/>
            <a:ext cx="7055810" cy="4934454"/>
          </a:xfrm>
          <a:prstGeom prst="rect">
            <a:avLst/>
          </a:prstGeom>
        </p:spPr>
      </p:pic>
      <p:sp>
        <p:nvSpPr>
          <p:cNvPr id="12" name="Rectangle 11"/>
          <p:cNvSpPr/>
          <p:nvPr userDrawn="1"/>
        </p:nvSpPr>
        <p:spPr>
          <a:xfrm>
            <a:off x="680899" y="660400"/>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pic>
        <p:nvPicPr>
          <p:cNvPr id="11" name="Picture 10" descr="ava_tag_color_rgb.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3251" y="5969001"/>
            <a:ext cx="2102949" cy="572710"/>
          </a:xfrm>
          <a:prstGeom prst="rect">
            <a:avLst/>
          </a:prstGeom>
        </p:spPr>
      </p:pic>
      <p:sp>
        <p:nvSpPr>
          <p:cNvPr id="18"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5">
                <a:solidFill>
                  <a:schemeClr val="tx2"/>
                </a:solidFill>
              </a:defRPr>
            </a:lvl1pPr>
          </a:lstStyle>
          <a:p>
            <a:fld id="{5FF2E63E-D57D-4EFD-8380-089500058C9E}" type="slidenum">
              <a:rPr lang="en-US" smtClean="0">
                <a:solidFill>
                  <a:srgbClr val="464646"/>
                </a:solidFill>
              </a:rPr>
              <a:pPr/>
              <a:t>‹#›</a:t>
            </a:fld>
            <a:endParaRPr lang="en-US" dirty="0">
              <a:solidFill>
                <a:srgbClr val="464646"/>
              </a:solidFill>
            </a:endParaRPr>
          </a:p>
        </p:txBody>
      </p:sp>
      <p:sp>
        <p:nvSpPr>
          <p:cNvPr id="20" name="Rectangle 5"/>
          <p:cNvSpPr txBox="1">
            <a:spLocks noChangeArrowheads="1"/>
          </p:cNvSpPr>
          <p:nvPr userDrawn="1"/>
        </p:nvSpPr>
        <p:spPr bwMode="auto">
          <a:xfrm>
            <a:off x="446296" y="5478146"/>
            <a:ext cx="2486994" cy="165099"/>
          </a:xfrm>
          <a:prstGeom prst="rect">
            <a:avLst/>
          </a:prstGeom>
          <a:noFill/>
          <a:ln w="9525">
            <a:noFill/>
            <a:miter lim="800000"/>
            <a:headEnd/>
            <a:tailEnd/>
          </a:ln>
          <a:effectLst/>
        </p:spPr>
        <p:txBody>
          <a:bodyPr lIns="0" tIns="0" rIns="0" bIns="0" anchor="ctr"/>
          <a:lstStyle/>
          <a:p>
            <a:pPr defTabSz="455541">
              <a:lnSpc>
                <a:spcPct val="90000"/>
              </a:lnSpc>
              <a:spcAft>
                <a:spcPct val="30000"/>
              </a:spcAft>
            </a:pPr>
            <a:r>
              <a:rPr lang="en-US" sz="450" dirty="0">
                <a:solidFill>
                  <a:srgbClr val="464646"/>
                </a:solidFill>
              </a:rPr>
              <a:t>© 2016 Avanade Inc. All Rights Reserved.</a:t>
            </a:r>
          </a:p>
        </p:txBody>
      </p:sp>
      <p:sp>
        <p:nvSpPr>
          <p:cNvPr id="21" name="Rectangle 4"/>
          <p:cNvSpPr>
            <a:spLocks noGrp="1" noChangeArrowheads="1"/>
          </p:cNvSpPr>
          <p:nvPr>
            <p:ph type="ctrTitle" hasCustomPrompt="1"/>
          </p:nvPr>
        </p:nvSpPr>
        <p:spPr>
          <a:xfrm>
            <a:off x="1129010" y="1179283"/>
            <a:ext cx="5006693" cy="1563933"/>
          </a:xfrm>
        </p:spPr>
        <p:txBody>
          <a:bodyPr lIns="71994"/>
          <a:lstStyle>
            <a:lvl1pPr>
              <a:lnSpc>
                <a:spcPct val="90000"/>
              </a:lnSpc>
              <a:defRPr sz="3298" baseline="0">
                <a:solidFill>
                  <a:schemeClr val="accent1"/>
                </a:solidFill>
              </a:defRPr>
            </a:lvl1pPr>
          </a:lstStyle>
          <a:p>
            <a:r>
              <a:rPr lang="en-US" dirty="0"/>
              <a:t>Click to edit Master title style</a:t>
            </a:r>
            <a:br>
              <a:rPr lang="en-US" dirty="0"/>
            </a:br>
            <a:endParaRPr lang="en-US" dirty="0"/>
          </a:p>
        </p:txBody>
      </p:sp>
      <p:pic>
        <p:nvPicPr>
          <p:cNvPr id="26" name="Picture 25" descr="H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94753" y="6227974"/>
            <a:ext cx="1889790" cy="192540"/>
          </a:xfrm>
          <a:prstGeom prst="rect">
            <a:avLst/>
          </a:prstGeom>
        </p:spPr>
      </p:pic>
      <p:pic>
        <p:nvPicPr>
          <p:cNvPr id="2" name="Picture 1" descr="GreenBlocks_1548_PrintRes_RGB_297w-150dpi.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7562232" y="-21974"/>
            <a:ext cx="4626847" cy="4065784"/>
          </a:xfrm>
          <a:prstGeom prst="rect">
            <a:avLst/>
          </a:prstGeom>
        </p:spPr>
      </p:pic>
    </p:spTree>
    <p:extLst>
      <p:ext uri="{BB962C8B-B14F-4D97-AF65-F5344CB8AC3E}">
        <p14:creationId xmlns:p14="http://schemas.microsoft.com/office/powerpoint/2010/main" val="42533708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White_BG_noPeople">
    <p:spTree>
      <p:nvGrpSpPr>
        <p:cNvPr id="1" name=""/>
        <p:cNvGrpSpPr/>
        <p:nvPr/>
      </p:nvGrpSpPr>
      <p:grpSpPr>
        <a:xfrm>
          <a:off x="0" y="0"/>
          <a:ext cx="0" cy="0"/>
          <a:chOff x="0" y="0"/>
          <a:chExt cx="0" cy="0"/>
        </a:xfrm>
      </p:grpSpPr>
      <p:sp>
        <p:nvSpPr>
          <p:cNvPr id="70"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5">
                <a:solidFill>
                  <a:schemeClr val="tx2"/>
                </a:solidFill>
              </a:defRPr>
            </a:lvl1pPr>
          </a:lstStyle>
          <a:p>
            <a:fld id="{5FF2E63E-D57D-4EFD-8380-089500058C9E}" type="slidenum">
              <a:rPr lang="en-US" smtClean="0">
                <a:solidFill>
                  <a:srgbClr val="464646"/>
                </a:solidFill>
              </a:rPr>
              <a:pPr/>
              <a:t>‹#›</a:t>
            </a:fld>
            <a:endParaRPr lang="en-US" dirty="0">
              <a:solidFill>
                <a:srgbClr val="464646"/>
              </a:solidFill>
            </a:endParaRPr>
          </a:p>
        </p:txBody>
      </p:sp>
      <p:sp>
        <p:nvSpPr>
          <p:cNvPr id="71" name="Title 1"/>
          <p:cNvSpPr>
            <a:spLocks noGrp="1"/>
          </p:cNvSpPr>
          <p:nvPr>
            <p:ph type="title" hasCustomPrompt="1"/>
          </p:nvPr>
        </p:nvSpPr>
        <p:spPr>
          <a:xfrm>
            <a:off x="393802" y="269876"/>
            <a:ext cx="11393280" cy="665480"/>
          </a:xfrm>
        </p:spPr>
        <p:txBody>
          <a:bodyPr/>
          <a:lstStyle>
            <a:lvl1pPr>
              <a:defRPr>
                <a:solidFill>
                  <a:schemeClr val="accent1"/>
                </a:solidFill>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24951944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FF2E63E-D57D-4EFD-8380-089500058C9E}" type="slidenum">
              <a:rPr lang="en-US" smtClean="0">
                <a:solidFill>
                  <a:srgbClr val="464646"/>
                </a:solidFill>
              </a:rPr>
              <a:pPr/>
              <a:t>‹#›</a:t>
            </a:fld>
            <a:endParaRPr lang="en-US" dirty="0">
              <a:solidFill>
                <a:srgbClr val="464646"/>
              </a:solidFill>
            </a:endParaRPr>
          </a:p>
        </p:txBody>
      </p:sp>
    </p:spTree>
    <p:extLst>
      <p:ext uri="{BB962C8B-B14F-4D97-AF65-F5344CB8AC3E}">
        <p14:creationId xmlns:p14="http://schemas.microsoft.com/office/powerpoint/2010/main" val="40982513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2"/>
            <a:ext cx="12192000" cy="1321250"/>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4"/>
            <a:ext cx="10850035" cy="4422775"/>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87430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0"/>
            <a:ext cx="12192000" cy="6163056"/>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1804"/>
            <a:endParaRPr lang="en-GB" sz="1350">
              <a:solidFill>
                <a:srgbClr val="FFFFFF"/>
              </a:solidFill>
            </a:endParaRPr>
          </a:p>
        </p:txBody>
      </p:sp>
      <p:pic>
        <p:nvPicPr>
          <p:cNvPr id="3" name="Picture 2" descr="GreenBlocks_0000_ScreenRes_RGB.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175" y="0"/>
            <a:ext cx="12195176" cy="6163056"/>
          </a:xfrm>
          <a:prstGeom prst="rect">
            <a:avLst/>
          </a:prstGeom>
        </p:spPr>
      </p:pic>
      <p:sp>
        <p:nvSpPr>
          <p:cNvPr id="5" name="Rectangle 4"/>
          <p:cNvSpPr/>
          <p:nvPr userDrawn="1"/>
        </p:nvSpPr>
        <p:spPr>
          <a:xfrm>
            <a:off x="680897" y="660401"/>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51427" tIns="25713" rIns="51427" bIns="25713" rtlCol="0" anchor="ctr"/>
          <a:lstStyle/>
          <a:p>
            <a:pPr algn="ctr" defTabSz="341804"/>
            <a:endParaRPr lang="en-US" sz="1350">
              <a:solidFill>
                <a:srgbClr val="FFFFFF"/>
              </a:solidFill>
            </a:endParaRPr>
          </a:p>
        </p:txBody>
      </p:sp>
      <p:pic>
        <p:nvPicPr>
          <p:cNvPr id="8" name="Picture 7" descr="GreenBlocks_0000_ScreenRes_RGB.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4930704" y="2"/>
            <a:ext cx="7261298" cy="3041501"/>
          </a:xfrm>
          <a:prstGeom prst="rect">
            <a:avLst/>
          </a:prstGeom>
        </p:spPr>
      </p:pic>
      <p:sp>
        <p:nvSpPr>
          <p:cNvPr id="14" name="Title 1"/>
          <p:cNvSpPr>
            <a:spLocks noGrp="1"/>
          </p:cNvSpPr>
          <p:nvPr>
            <p:ph type="title"/>
          </p:nvPr>
        </p:nvSpPr>
        <p:spPr>
          <a:xfrm>
            <a:off x="675224" y="2540628"/>
            <a:ext cx="10850033" cy="914400"/>
          </a:xfrm>
        </p:spPr>
        <p:txBody>
          <a:bodyPr/>
          <a:lstStyle>
            <a:lvl1pPr algn="ctr">
              <a:defRPr sz="3712"/>
            </a:lvl1pPr>
          </a:lstStyle>
          <a:p>
            <a:r>
              <a:rPr lang="en-US" dirty="0"/>
              <a:t>Click to edit Master title style</a:t>
            </a:r>
          </a:p>
        </p:txBody>
      </p:sp>
    </p:spTree>
    <p:extLst>
      <p:ext uri="{BB962C8B-B14F-4D97-AF65-F5344CB8AC3E}">
        <p14:creationId xmlns:p14="http://schemas.microsoft.com/office/powerpoint/2010/main" val="39196722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0" y="3"/>
            <a:ext cx="12192000" cy="1321250"/>
          </a:xfrm>
          <a:prstGeom prst="rect">
            <a:avLst/>
          </a:prstGeom>
          <a:solidFill>
            <a:srgbClr val="EEEEEE"/>
          </a:solidFill>
        </p:spPr>
      </p:pic>
      <p:sp>
        <p:nvSpPr>
          <p:cNvPr id="2" name="Title 1"/>
          <p:cNvSpPr>
            <a:spLocks noGrp="1"/>
          </p:cNvSpPr>
          <p:nvPr>
            <p:ph type="title"/>
          </p:nvPr>
        </p:nvSpPr>
        <p:spPr>
          <a:xfrm>
            <a:off x="675224" y="301754"/>
            <a:ext cx="10850033"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4" y="1460505"/>
            <a:ext cx="10850033" cy="4422775"/>
          </a:xfrm>
        </p:spPr>
        <p:txBody>
          <a:bodyPr/>
          <a:lstStyle>
            <a:lvl1pPr>
              <a:spcAft>
                <a:spcPts val="113"/>
              </a:spcAft>
              <a:defRPr>
                <a:solidFill>
                  <a:srgbClr val="646464"/>
                </a:solidFill>
              </a:defRPr>
            </a:lvl1pPr>
            <a:lvl2pPr>
              <a:spcAft>
                <a:spcPts val="169"/>
              </a:spcAft>
              <a:defRPr>
                <a:solidFill>
                  <a:srgbClr val="646464"/>
                </a:solidFill>
              </a:defRPr>
            </a:lvl2pPr>
            <a:lvl3pPr>
              <a:spcAft>
                <a:spcPts val="169"/>
              </a:spcAft>
              <a:defRPr>
                <a:solidFill>
                  <a:srgbClr val="646464"/>
                </a:solidFill>
              </a:defRPr>
            </a:lvl3pPr>
            <a:lvl4pPr>
              <a:spcAft>
                <a:spcPts val="169"/>
              </a:spcAft>
              <a:defRPr>
                <a:solidFill>
                  <a:srgbClr val="646464"/>
                </a:solidFill>
              </a:defRPr>
            </a:lvl4pPr>
            <a:lvl5pPr>
              <a:spcAft>
                <a:spcPts val="169"/>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67462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4" name="Picture 3" descr="Ink_Drop_PrintRes_PPT_banner_crop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92223"/>
          <a:stretch/>
        </p:blipFill>
        <p:spPr>
          <a:xfrm>
            <a:off x="0" y="0"/>
            <a:ext cx="12192000" cy="1321251"/>
          </a:xfrm>
          <a:prstGeom prst="rect">
            <a:avLst/>
          </a:prstGeom>
          <a:solidFill>
            <a:srgbClr val="EEEEEE"/>
          </a:solidFill>
        </p:spPr>
      </p:pic>
      <p:sp>
        <p:nvSpPr>
          <p:cNvPr id="2" name="Title 1"/>
          <p:cNvSpPr>
            <a:spLocks noGrp="1"/>
          </p:cNvSpPr>
          <p:nvPr>
            <p:ph type="title"/>
          </p:nvPr>
        </p:nvSpPr>
        <p:spPr>
          <a:xfrm>
            <a:off x="675224" y="301754"/>
            <a:ext cx="10850033" cy="914400"/>
          </a:xfrm>
        </p:spPr>
        <p:txBody>
          <a:bodyPr/>
          <a:lstStyle>
            <a:lvl1pPr>
              <a:defRPr>
                <a:solidFill>
                  <a:srgbClr val="F86B16"/>
                </a:solidFill>
              </a:defRPr>
            </a:lvl1pPr>
          </a:lstStyle>
          <a:p>
            <a:r>
              <a:rPr lang="en-US"/>
              <a:t>Click to edit Master title style</a:t>
            </a:r>
            <a:endParaRPr lang="en-US" dirty="0"/>
          </a:p>
        </p:txBody>
      </p:sp>
      <p:sp>
        <p:nvSpPr>
          <p:cNvPr id="5" name="Content Placeholder 2"/>
          <p:cNvSpPr>
            <a:spLocks noGrp="1"/>
          </p:cNvSpPr>
          <p:nvPr>
            <p:ph idx="1"/>
          </p:nvPr>
        </p:nvSpPr>
        <p:spPr>
          <a:xfrm>
            <a:off x="675222" y="1441827"/>
            <a:ext cx="5304901" cy="4876799"/>
          </a:xfrm>
        </p:spPr>
        <p:txBody>
          <a:bodyPr/>
          <a:lstStyle>
            <a:lvl1pPr>
              <a:spcAft>
                <a:spcPts val="113"/>
              </a:spcAft>
              <a:defRPr>
                <a:solidFill>
                  <a:srgbClr val="646464"/>
                </a:solidFill>
              </a:defRPr>
            </a:lvl1pPr>
            <a:lvl2pPr>
              <a:spcAft>
                <a:spcPts val="169"/>
              </a:spcAft>
              <a:defRPr>
                <a:solidFill>
                  <a:srgbClr val="646464"/>
                </a:solidFill>
              </a:defRPr>
            </a:lvl2pPr>
            <a:lvl3pPr>
              <a:spcAft>
                <a:spcPts val="169"/>
              </a:spcAft>
              <a:defRPr>
                <a:solidFill>
                  <a:srgbClr val="646464"/>
                </a:solidFill>
              </a:defRPr>
            </a:lvl3pPr>
            <a:lvl4pPr>
              <a:spcAft>
                <a:spcPts val="169"/>
              </a:spcAft>
              <a:defRPr>
                <a:solidFill>
                  <a:srgbClr val="646464"/>
                </a:solidFill>
              </a:defRPr>
            </a:lvl4pPr>
            <a:lvl5pPr>
              <a:spcAft>
                <a:spcPts val="169"/>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6128892" y="1441825"/>
            <a:ext cx="5304901" cy="4876798"/>
          </a:xfrm>
        </p:spPr>
        <p:txBody>
          <a:bodyPr/>
          <a:lstStyle>
            <a:lvl1pPr>
              <a:spcAft>
                <a:spcPts val="113"/>
              </a:spcAft>
              <a:defRPr>
                <a:solidFill>
                  <a:srgbClr val="646464"/>
                </a:solidFill>
              </a:defRPr>
            </a:lvl1pPr>
            <a:lvl2pPr>
              <a:spcAft>
                <a:spcPts val="169"/>
              </a:spcAft>
              <a:defRPr>
                <a:solidFill>
                  <a:srgbClr val="646464"/>
                </a:solidFill>
              </a:defRPr>
            </a:lvl2pPr>
            <a:lvl3pPr>
              <a:spcAft>
                <a:spcPts val="169"/>
              </a:spcAft>
              <a:defRPr>
                <a:solidFill>
                  <a:srgbClr val="646464"/>
                </a:solidFill>
              </a:defRPr>
            </a:lvl3pPr>
            <a:lvl4pPr>
              <a:spcAft>
                <a:spcPts val="169"/>
              </a:spcAft>
              <a:defRPr>
                <a:solidFill>
                  <a:srgbClr val="646464"/>
                </a:solidFill>
              </a:defRPr>
            </a:lvl4pPr>
            <a:lvl5pPr>
              <a:spcAft>
                <a:spcPts val="169"/>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60768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1" y="0"/>
            <a:ext cx="12192000" cy="6163056"/>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5541"/>
            <a:endParaRPr lang="en-GB" sz="1799">
              <a:solidFill>
                <a:srgbClr val="FFFFFF"/>
              </a:solidFill>
            </a:endParaRPr>
          </a:p>
        </p:txBody>
      </p:sp>
      <p:pic>
        <p:nvPicPr>
          <p:cNvPr id="3" name="Picture 2" descr="GreenBlocks_0000_ScreenRes_RGB.pn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175" y="0"/>
            <a:ext cx="12195176" cy="6163056"/>
          </a:xfrm>
          <a:prstGeom prst="rect">
            <a:avLst/>
          </a:prstGeom>
        </p:spPr>
      </p:pic>
      <p:sp>
        <p:nvSpPr>
          <p:cNvPr id="5" name="Rectangle 4"/>
          <p:cNvSpPr/>
          <p:nvPr userDrawn="1"/>
        </p:nvSpPr>
        <p:spPr>
          <a:xfrm>
            <a:off x="680899" y="660400"/>
            <a:ext cx="10823218" cy="4490720"/>
          </a:xfrm>
          <a:prstGeom prst="rect">
            <a:avLst/>
          </a:prstGeom>
          <a:noFill/>
          <a:ln w="508000" cap="sq">
            <a:solidFill>
              <a:srgbClr val="FF58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pic>
        <p:nvPicPr>
          <p:cNvPr id="8" name="Picture 7" descr="GreenBlocks_0000_ScreenRes_RGB.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4930704" y="2"/>
            <a:ext cx="7261298" cy="3041501"/>
          </a:xfrm>
          <a:prstGeom prst="rect">
            <a:avLst/>
          </a:prstGeom>
        </p:spPr>
      </p:pic>
      <p:sp>
        <p:nvSpPr>
          <p:cNvPr id="14" name="Title 1"/>
          <p:cNvSpPr>
            <a:spLocks noGrp="1"/>
          </p:cNvSpPr>
          <p:nvPr>
            <p:ph type="title"/>
          </p:nvPr>
        </p:nvSpPr>
        <p:spPr>
          <a:xfrm>
            <a:off x="675222" y="2540628"/>
            <a:ext cx="10850035" cy="914400"/>
          </a:xfrm>
        </p:spPr>
        <p:txBody>
          <a:bodyPr/>
          <a:lstStyle>
            <a:lvl1pPr algn="ctr">
              <a:defRPr sz="4948"/>
            </a:lvl1pPr>
          </a:lstStyle>
          <a:p>
            <a:r>
              <a:rPr lang="en-US" dirty="0"/>
              <a:t>Click to edit Master title style</a:t>
            </a:r>
          </a:p>
        </p:txBody>
      </p:sp>
    </p:spTree>
    <p:extLst>
      <p:ext uri="{BB962C8B-B14F-4D97-AF65-F5344CB8AC3E}">
        <p14:creationId xmlns:p14="http://schemas.microsoft.com/office/powerpoint/2010/main" val="1809582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urora - Divider slide">
    <p:spTree>
      <p:nvGrpSpPr>
        <p:cNvPr id="1" name=""/>
        <p:cNvGrpSpPr/>
        <p:nvPr/>
      </p:nvGrpSpPr>
      <p:grpSpPr>
        <a:xfrm>
          <a:off x="0" y="0"/>
          <a:ext cx="0" cy="0"/>
          <a:chOff x="0" y="0"/>
          <a:chExt cx="0" cy="0"/>
        </a:xfrm>
      </p:grpSpPr>
      <p:sp>
        <p:nvSpPr>
          <p:cNvPr id="8" name="Text Placeholder 9"/>
          <p:cNvSpPr>
            <a:spLocks noGrp="1"/>
          </p:cNvSpPr>
          <p:nvPr>
            <p:ph type="body" sz="quarter" idx="10" hasCustomPrompt="1"/>
          </p:nvPr>
        </p:nvSpPr>
        <p:spPr>
          <a:xfrm>
            <a:off x="1083386" y="2992375"/>
            <a:ext cx="10524898" cy="1080861"/>
          </a:xfrm>
        </p:spPr>
        <p:txBody>
          <a:bodyPr>
            <a:noAutofit/>
          </a:bodyPr>
          <a:lstStyle>
            <a:lvl1pPr marL="0" indent="0">
              <a:buNone/>
              <a:defRPr sz="4400" b="0" i="0">
                <a:solidFill>
                  <a:schemeClr val="tx1"/>
                </a:solidFill>
                <a:latin typeface="Segoe UI" charset="0"/>
                <a:ea typeface="Segoe UI" charset="0"/>
                <a:cs typeface="Segoe UI" charset="0"/>
              </a:defRPr>
            </a:lvl1pPr>
          </a:lstStyle>
          <a:p>
            <a:pPr lvl="0"/>
            <a:r>
              <a:rPr lang="en-US"/>
              <a:t>Click to edit Master text styles</a:t>
            </a:r>
          </a:p>
        </p:txBody>
      </p:sp>
      <p:sp>
        <p:nvSpPr>
          <p:cNvPr id="9" name="Text Placeholder 11"/>
          <p:cNvSpPr>
            <a:spLocks noGrp="1"/>
          </p:cNvSpPr>
          <p:nvPr>
            <p:ph type="body" sz="quarter" idx="11" hasCustomPrompt="1"/>
          </p:nvPr>
        </p:nvSpPr>
        <p:spPr>
          <a:xfrm>
            <a:off x="1083386" y="4156074"/>
            <a:ext cx="10524898" cy="1092819"/>
          </a:xfrm>
        </p:spPr>
        <p:txBody>
          <a:bodyPr>
            <a:noAutofit/>
          </a:bodyPr>
          <a:lstStyle>
            <a:lvl1pPr marL="0" indent="0">
              <a:buNone/>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5129901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Green_Blocks_for_header.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5646"/>
          <a:stretch/>
        </p:blipFill>
        <p:spPr>
          <a:xfrm>
            <a:off x="1" y="2"/>
            <a:ext cx="12192000" cy="1321250"/>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3" name="Content Placeholder 2"/>
          <p:cNvSpPr>
            <a:spLocks noGrp="1"/>
          </p:cNvSpPr>
          <p:nvPr>
            <p:ph idx="1"/>
          </p:nvPr>
        </p:nvSpPr>
        <p:spPr>
          <a:xfrm>
            <a:off x="675222" y="1460504"/>
            <a:ext cx="10850035" cy="4422775"/>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25245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4" name="Picture 3" descr="Ink_Drop_PrintRes_PPT_banner_crop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92223"/>
          <a:stretch/>
        </p:blipFill>
        <p:spPr>
          <a:xfrm>
            <a:off x="1" y="1"/>
            <a:ext cx="12192000" cy="1321251"/>
          </a:xfrm>
          <a:prstGeom prst="rect">
            <a:avLst/>
          </a:prstGeom>
          <a:solidFill>
            <a:srgbClr val="EEEEEE"/>
          </a:solidFill>
        </p:spPr>
      </p:pic>
      <p:sp>
        <p:nvSpPr>
          <p:cNvPr id="2" name="Title 1"/>
          <p:cNvSpPr>
            <a:spLocks noGrp="1"/>
          </p:cNvSpPr>
          <p:nvPr>
            <p:ph type="title"/>
          </p:nvPr>
        </p:nvSpPr>
        <p:spPr>
          <a:xfrm>
            <a:off x="675222" y="301753"/>
            <a:ext cx="10850035" cy="914400"/>
          </a:xfrm>
        </p:spPr>
        <p:txBody>
          <a:bodyPr/>
          <a:lstStyle>
            <a:lvl1pPr>
              <a:defRPr>
                <a:solidFill>
                  <a:srgbClr val="F86B16"/>
                </a:solidFill>
              </a:defRPr>
            </a:lvl1pPr>
          </a:lstStyle>
          <a:p>
            <a:r>
              <a:rPr lang="en-US"/>
              <a:t>Click to edit Master title style</a:t>
            </a:r>
            <a:endParaRPr lang="en-US" dirty="0"/>
          </a:p>
        </p:txBody>
      </p:sp>
      <p:sp>
        <p:nvSpPr>
          <p:cNvPr id="5" name="Content Placeholder 2"/>
          <p:cNvSpPr>
            <a:spLocks noGrp="1"/>
          </p:cNvSpPr>
          <p:nvPr>
            <p:ph idx="1"/>
          </p:nvPr>
        </p:nvSpPr>
        <p:spPr>
          <a:xfrm>
            <a:off x="675222" y="1441827"/>
            <a:ext cx="5304901" cy="4876799"/>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4"/>
          </p:nvPr>
        </p:nvSpPr>
        <p:spPr>
          <a:xfrm>
            <a:off x="6128892" y="1441825"/>
            <a:ext cx="5304901" cy="4876798"/>
          </a:xfrm>
        </p:spPr>
        <p:txBody>
          <a:bodyPr/>
          <a:lstStyle>
            <a:lvl1pPr>
              <a:spcAft>
                <a:spcPts val="150"/>
              </a:spcAft>
              <a:defRPr>
                <a:solidFill>
                  <a:srgbClr val="646464"/>
                </a:solidFill>
              </a:defRPr>
            </a:lvl1pPr>
            <a:lvl2pPr>
              <a:spcAft>
                <a:spcPts val="225"/>
              </a:spcAft>
              <a:defRPr>
                <a:solidFill>
                  <a:srgbClr val="646464"/>
                </a:solidFill>
              </a:defRPr>
            </a:lvl2pPr>
            <a:lvl3pPr>
              <a:spcAft>
                <a:spcPts val="225"/>
              </a:spcAft>
              <a:defRPr>
                <a:solidFill>
                  <a:srgbClr val="646464"/>
                </a:solidFill>
              </a:defRPr>
            </a:lvl3pPr>
            <a:lvl4pPr>
              <a:spcAft>
                <a:spcPts val="225"/>
              </a:spcAft>
              <a:defRPr>
                <a:solidFill>
                  <a:srgbClr val="646464"/>
                </a:solidFill>
              </a:defRPr>
            </a:lvl4pPr>
            <a:lvl5pPr>
              <a:spcAft>
                <a:spcPts val="225"/>
              </a:spcAft>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47770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image" Target="../media/image31.jpeg"/><Relationship Id="rId5" Type="http://schemas.openxmlformats.org/officeDocument/2006/relationships/theme" Target="../theme/theme10.xml"/><Relationship Id="rId4" Type="http://schemas.openxmlformats.org/officeDocument/2006/relationships/slideLayout" Target="../slideLayouts/slideLayout8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image" Target="../media/image31.jpeg"/><Relationship Id="rId5" Type="http://schemas.openxmlformats.org/officeDocument/2006/relationships/theme" Target="../theme/theme11.xml"/><Relationship Id="rId4"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5" Type="http://schemas.openxmlformats.org/officeDocument/2006/relationships/image" Target="../media/image31.jpe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slideLayout" Target="../slideLayouts/slideLayout90.xml"/><Relationship Id="rId1" Type="http://schemas.openxmlformats.org/officeDocument/2006/relationships/slideLayout" Target="../slideLayouts/slideLayout89.xml"/><Relationship Id="rId5" Type="http://schemas.openxmlformats.org/officeDocument/2006/relationships/image" Target="../media/image31.jpeg"/><Relationship Id="rId4"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hyperlink" Target="https://avanade.sharepoint.com/sites/policies/Policies2/Data%20Management/1431_DataManagement.pdf" TargetMode="Externa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hyperlink" Target="https://avanade.sharepoint.com/sites/policies/Policies2/Data%20Management/1431_DataManagement.pdf" TargetMode="Externa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5.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0.xml"/><Relationship Id="rId7"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0.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1.bin"/><Relationship Id="rId2" Type="http://schemas.openxmlformats.org/officeDocument/2006/relationships/slideLayout" Target="../slideLayouts/slideLayout35.xml"/><Relationship Id="rId16" Type="http://schemas.openxmlformats.org/officeDocument/2006/relationships/tags" Target="../tags/tag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vmlDrawing" Target="../drawings/vmlDrawing1.v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9.xml"/><Relationship Id="rId7" Type="http://schemas.openxmlformats.org/officeDocument/2006/relationships/theme" Target="../theme/theme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9.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a:stretch>
            <a:fillRect/>
          </a:stretch>
        </p:blipFill>
        <p:spPr>
          <a:xfrm>
            <a:off x="2429248" y="2083305"/>
            <a:ext cx="7333503" cy="2691389"/>
          </a:xfrm>
          <a:prstGeom prst="rect">
            <a:avLst/>
          </a:prstGeom>
        </p:spPr>
      </p:pic>
      <p:sp>
        <p:nvSpPr>
          <p:cNvPr id="11" name="Rectangle 5"/>
          <p:cNvSpPr txBox="1">
            <a:spLocks noChangeArrowheads="1"/>
          </p:cNvSpPr>
          <p:nvPr/>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532516019"/>
      </p:ext>
    </p:extLst>
  </p:cSld>
  <p:clrMap bg1="lt1" tx1="dk1" bg2="lt2" tx2="dk2" accent1="accent1" accent2="accent2" accent3="accent3" accent4="accent4" accent5="accent5" accent6="accent6" hlink="hlink" folHlink="folHlink"/>
  <p:sldLayoutIdLst>
    <p:sldLayoutId id="2147483661" r:id="rId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5222" y="301626"/>
            <a:ext cx="1085003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75222" y="1460503"/>
            <a:ext cx="10850035" cy="4441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41">
              <a:lnSpc>
                <a:spcPct val="90000"/>
              </a:lnSpc>
              <a:spcAft>
                <a:spcPct val="30000"/>
              </a:spcAft>
              <a:defRPr/>
            </a:pPr>
            <a:r>
              <a:rPr lang="en-US" sz="450" dirty="0">
                <a:solidFill>
                  <a:srgbClr val="464646"/>
                </a:solidFill>
              </a:rPr>
              <a:t>© 2016 Avanade Inc. All Rights Reserved.</a:t>
            </a:r>
          </a:p>
        </p:txBody>
      </p:sp>
      <p:sp>
        <p:nvSpPr>
          <p:cNvPr id="14" name="Slide Number Placeholder 2"/>
          <p:cNvSpPr txBox="1">
            <a:spLocks/>
          </p:cNvSpPr>
          <p:nvPr userDrawn="1"/>
        </p:nvSpPr>
        <p:spPr>
          <a:xfrm>
            <a:off x="11378143" y="6504260"/>
            <a:ext cx="406400" cy="199379"/>
          </a:xfrm>
          <a:prstGeom prst="rect">
            <a:avLst/>
          </a:prstGeom>
        </p:spPr>
        <p:txBody>
          <a:bodyPr lIns="0" tIns="0" rIns="0" bIns="0" anchor="b"/>
          <a:lstStyle>
            <a:defPPr>
              <a:defRPr lang="en-US"/>
            </a:defPPr>
            <a:lvl1pPr marL="0" algn="r" defTabSz="607720" rtl="0" eaLnBrk="1" latinLnBrk="0" hangingPunct="1">
              <a:defRPr sz="1050" kern="1200">
                <a:solidFill>
                  <a:schemeClr val="tx2"/>
                </a:solidFill>
                <a:latin typeface="+mn-lt"/>
                <a:ea typeface="+mn-ea"/>
                <a:cs typeface="+mn-cs"/>
              </a:defRPr>
            </a:lvl1pPr>
            <a:lvl2pPr marL="607720" algn="l" defTabSz="607720" rtl="0" eaLnBrk="1" latinLnBrk="0" hangingPunct="1">
              <a:defRPr sz="2400" kern="1200">
                <a:solidFill>
                  <a:schemeClr val="tx1"/>
                </a:solidFill>
                <a:latin typeface="+mn-lt"/>
                <a:ea typeface="+mn-ea"/>
                <a:cs typeface="+mn-cs"/>
              </a:defRPr>
            </a:lvl2pPr>
            <a:lvl3pPr marL="1215441" algn="l" defTabSz="607720" rtl="0" eaLnBrk="1" latinLnBrk="0" hangingPunct="1">
              <a:defRPr sz="2400" kern="1200">
                <a:solidFill>
                  <a:schemeClr val="tx1"/>
                </a:solidFill>
                <a:latin typeface="+mn-lt"/>
                <a:ea typeface="+mn-ea"/>
                <a:cs typeface="+mn-cs"/>
              </a:defRPr>
            </a:lvl3pPr>
            <a:lvl4pPr marL="1823161" algn="l" defTabSz="607720" rtl="0" eaLnBrk="1" latinLnBrk="0" hangingPunct="1">
              <a:defRPr sz="2400" kern="1200">
                <a:solidFill>
                  <a:schemeClr val="tx1"/>
                </a:solidFill>
                <a:latin typeface="+mn-lt"/>
                <a:ea typeface="+mn-ea"/>
                <a:cs typeface="+mn-cs"/>
              </a:defRPr>
            </a:lvl4pPr>
            <a:lvl5pPr marL="2430875" algn="l" defTabSz="607720" rtl="0" eaLnBrk="1" latinLnBrk="0" hangingPunct="1">
              <a:defRPr sz="2400" kern="1200">
                <a:solidFill>
                  <a:schemeClr val="tx1"/>
                </a:solidFill>
                <a:latin typeface="+mn-lt"/>
                <a:ea typeface="+mn-ea"/>
                <a:cs typeface="+mn-cs"/>
              </a:defRPr>
            </a:lvl5pPr>
            <a:lvl6pPr marL="3038583" algn="l" defTabSz="607720" rtl="0" eaLnBrk="1" latinLnBrk="0" hangingPunct="1">
              <a:defRPr sz="2400" kern="1200">
                <a:solidFill>
                  <a:schemeClr val="tx1"/>
                </a:solidFill>
                <a:latin typeface="+mn-lt"/>
                <a:ea typeface="+mn-ea"/>
                <a:cs typeface="+mn-cs"/>
              </a:defRPr>
            </a:lvl6pPr>
            <a:lvl7pPr marL="3646318" algn="l" defTabSz="607720" rtl="0" eaLnBrk="1" latinLnBrk="0" hangingPunct="1">
              <a:defRPr sz="2400" kern="1200">
                <a:solidFill>
                  <a:schemeClr val="tx1"/>
                </a:solidFill>
                <a:latin typeface="+mn-lt"/>
                <a:ea typeface="+mn-ea"/>
                <a:cs typeface="+mn-cs"/>
              </a:defRPr>
            </a:lvl7pPr>
            <a:lvl8pPr marL="4254022" algn="l" defTabSz="607720" rtl="0" eaLnBrk="1" latinLnBrk="0" hangingPunct="1">
              <a:defRPr sz="2400" kern="1200">
                <a:solidFill>
                  <a:schemeClr val="tx1"/>
                </a:solidFill>
                <a:latin typeface="+mn-lt"/>
                <a:ea typeface="+mn-ea"/>
                <a:cs typeface="+mn-cs"/>
              </a:defRPr>
            </a:lvl8pPr>
            <a:lvl9pPr marL="4861725" algn="l" defTabSz="607720" rtl="0" eaLnBrk="1" latinLnBrk="0" hangingPunct="1">
              <a:defRPr sz="2400" kern="1200">
                <a:solidFill>
                  <a:schemeClr val="tx1"/>
                </a:solidFill>
                <a:latin typeface="+mn-lt"/>
                <a:ea typeface="+mn-ea"/>
                <a:cs typeface="+mn-cs"/>
              </a:defRPr>
            </a:lvl9pPr>
          </a:lstStyle>
          <a:p>
            <a:pPr defTabSz="455541">
              <a:defRPr/>
            </a:pPr>
            <a:fld id="{5FF2E63E-D57D-4EFD-8380-089500058C9E}" type="slidenum">
              <a:rPr lang="en-US" sz="825" smtClean="0">
                <a:solidFill>
                  <a:srgbClr val="464646"/>
                </a:solidFill>
              </a:rPr>
              <a:pPr defTabSz="455541">
                <a:defRPr/>
              </a:pPr>
              <a:t>‹#›</a:t>
            </a:fld>
            <a:endParaRPr lang="en-US" sz="825" dirty="0">
              <a:solidFill>
                <a:srgbClr val="464646"/>
              </a:solidFill>
            </a:endParaRPr>
          </a:p>
        </p:txBody>
      </p:sp>
      <p:pic>
        <p:nvPicPr>
          <p:cNvPr id="7" name="Picture 6" descr="ava_tag_color_rgb.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354" y="6370211"/>
            <a:ext cx="1224320" cy="333427"/>
          </a:xfrm>
          <a:prstGeom prst="rect">
            <a:avLst/>
          </a:prstGeom>
        </p:spPr>
      </p:pic>
    </p:spTree>
    <p:extLst>
      <p:ext uri="{BB962C8B-B14F-4D97-AF65-F5344CB8AC3E}">
        <p14:creationId xmlns:p14="http://schemas.microsoft.com/office/powerpoint/2010/main" val="366926759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Lst>
  <p:hf hdr="0" ftr="0" dt="0"/>
  <p:txStyles>
    <p:titleStyle>
      <a:lvl1pPr algn="l" rtl="0" eaLnBrk="1" fontAlgn="base" hangingPunct="1">
        <a:lnSpc>
          <a:spcPct val="90000"/>
        </a:lnSpc>
        <a:spcBef>
          <a:spcPct val="0"/>
        </a:spcBef>
        <a:spcAft>
          <a:spcPct val="30000"/>
        </a:spcAft>
        <a:defRPr sz="2399">
          <a:solidFill>
            <a:srgbClr val="F86B16"/>
          </a:solidFill>
          <a:latin typeface="+mj-lt"/>
          <a:ea typeface="+mj-ea"/>
          <a:cs typeface="+mj-cs"/>
        </a:defRPr>
      </a:lvl1pPr>
      <a:lvl2pPr algn="l" rtl="0" eaLnBrk="1" fontAlgn="base" hangingPunct="1">
        <a:lnSpc>
          <a:spcPct val="90000"/>
        </a:lnSpc>
        <a:spcBef>
          <a:spcPct val="0"/>
        </a:spcBef>
        <a:spcAft>
          <a:spcPct val="30000"/>
        </a:spcAft>
        <a:defRPr sz="2399">
          <a:solidFill>
            <a:schemeClr val="tx2"/>
          </a:solidFill>
          <a:latin typeface="Arial" charset="0"/>
        </a:defRPr>
      </a:lvl2pPr>
      <a:lvl3pPr algn="l" rtl="0" eaLnBrk="1" fontAlgn="base" hangingPunct="1">
        <a:lnSpc>
          <a:spcPct val="90000"/>
        </a:lnSpc>
        <a:spcBef>
          <a:spcPct val="0"/>
        </a:spcBef>
        <a:spcAft>
          <a:spcPct val="30000"/>
        </a:spcAft>
        <a:defRPr sz="2399">
          <a:solidFill>
            <a:schemeClr val="tx2"/>
          </a:solidFill>
          <a:latin typeface="Arial" charset="0"/>
        </a:defRPr>
      </a:lvl3pPr>
      <a:lvl4pPr algn="l" rtl="0" eaLnBrk="1" fontAlgn="base" hangingPunct="1">
        <a:lnSpc>
          <a:spcPct val="90000"/>
        </a:lnSpc>
        <a:spcBef>
          <a:spcPct val="0"/>
        </a:spcBef>
        <a:spcAft>
          <a:spcPct val="30000"/>
        </a:spcAft>
        <a:defRPr sz="2399">
          <a:solidFill>
            <a:schemeClr val="tx2"/>
          </a:solidFill>
          <a:latin typeface="Arial" charset="0"/>
        </a:defRPr>
      </a:lvl4pPr>
      <a:lvl5pPr algn="l" rtl="0" eaLnBrk="1" fontAlgn="base" hangingPunct="1">
        <a:lnSpc>
          <a:spcPct val="90000"/>
        </a:lnSpc>
        <a:spcBef>
          <a:spcPct val="0"/>
        </a:spcBef>
        <a:spcAft>
          <a:spcPct val="30000"/>
        </a:spcAft>
        <a:defRPr sz="2399">
          <a:solidFill>
            <a:schemeClr val="tx2"/>
          </a:solidFill>
          <a:latin typeface="Arial" charset="0"/>
        </a:defRPr>
      </a:lvl5pPr>
      <a:lvl6pPr marL="342712" algn="l" rtl="0" eaLnBrk="1" fontAlgn="base" hangingPunct="1">
        <a:spcBef>
          <a:spcPct val="0"/>
        </a:spcBef>
        <a:spcAft>
          <a:spcPct val="0"/>
        </a:spcAft>
        <a:defRPr sz="2399" b="1">
          <a:solidFill>
            <a:schemeClr val="tx2"/>
          </a:solidFill>
          <a:latin typeface="Arial" charset="0"/>
        </a:defRPr>
      </a:lvl6pPr>
      <a:lvl7pPr marL="685424" algn="l" rtl="0" eaLnBrk="1" fontAlgn="base" hangingPunct="1">
        <a:spcBef>
          <a:spcPct val="0"/>
        </a:spcBef>
        <a:spcAft>
          <a:spcPct val="0"/>
        </a:spcAft>
        <a:defRPr sz="2399" b="1">
          <a:solidFill>
            <a:schemeClr val="tx2"/>
          </a:solidFill>
          <a:latin typeface="Arial" charset="0"/>
        </a:defRPr>
      </a:lvl7pPr>
      <a:lvl8pPr marL="1028137" algn="l" rtl="0" eaLnBrk="1" fontAlgn="base" hangingPunct="1">
        <a:spcBef>
          <a:spcPct val="0"/>
        </a:spcBef>
        <a:spcAft>
          <a:spcPct val="0"/>
        </a:spcAft>
        <a:defRPr sz="2399" b="1">
          <a:solidFill>
            <a:schemeClr val="tx2"/>
          </a:solidFill>
          <a:latin typeface="Arial" charset="0"/>
        </a:defRPr>
      </a:lvl8pPr>
      <a:lvl9pPr marL="1370849" algn="l" rtl="0" eaLnBrk="1" fontAlgn="base" hangingPunct="1">
        <a:spcBef>
          <a:spcPct val="0"/>
        </a:spcBef>
        <a:spcAft>
          <a:spcPct val="0"/>
        </a:spcAft>
        <a:defRPr sz="2399" b="1">
          <a:solidFill>
            <a:schemeClr val="tx2"/>
          </a:solidFill>
          <a:latin typeface="Arial" charset="0"/>
        </a:defRPr>
      </a:lvl9pPr>
    </p:titleStyle>
    <p:bodyStyle>
      <a:lvl1pPr marL="130898" indent="-130898" algn="l" rtl="0" eaLnBrk="1" fontAlgn="base" hangingPunct="1">
        <a:lnSpc>
          <a:spcPct val="90000"/>
        </a:lnSpc>
        <a:spcBef>
          <a:spcPct val="0"/>
        </a:spcBef>
        <a:spcAft>
          <a:spcPct val="30000"/>
        </a:spcAft>
        <a:buChar char="•"/>
        <a:defRPr sz="1200">
          <a:solidFill>
            <a:srgbClr val="646464"/>
          </a:solidFill>
          <a:latin typeface="+mn-lt"/>
          <a:ea typeface="+mn-ea"/>
          <a:cs typeface="+mn-cs"/>
        </a:defRPr>
      </a:lvl1pPr>
      <a:lvl2pPr marL="317723" indent="-154697" algn="l" rtl="0" eaLnBrk="1" fontAlgn="base" hangingPunct="1">
        <a:lnSpc>
          <a:spcPct val="90000"/>
        </a:lnSpc>
        <a:spcBef>
          <a:spcPct val="0"/>
        </a:spcBef>
        <a:spcAft>
          <a:spcPct val="30000"/>
        </a:spcAft>
        <a:buFont typeface="Arial" charset="0"/>
        <a:buChar char="–"/>
        <a:defRPr sz="1200">
          <a:solidFill>
            <a:srgbClr val="646464"/>
          </a:solidFill>
          <a:latin typeface="+mn-lt"/>
        </a:defRPr>
      </a:lvl2pPr>
      <a:lvl3pPr marL="489079" indent="-146367" algn="l" rtl="0" eaLnBrk="1" fontAlgn="base" hangingPunct="1">
        <a:lnSpc>
          <a:spcPct val="90000"/>
        </a:lnSpc>
        <a:spcBef>
          <a:spcPct val="0"/>
        </a:spcBef>
        <a:spcAft>
          <a:spcPct val="30000"/>
        </a:spcAft>
        <a:buFont typeface="Wingdings" pitchFamily="2" charset="2"/>
        <a:buChar char="§"/>
        <a:defRPr sz="1200">
          <a:solidFill>
            <a:srgbClr val="646464"/>
          </a:solidFill>
          <a:latin typeface="+mn-lt"/>
        </a:defRPr>
      </a:lvl3pPr>
      <a:lvl4pPr marL="660435" indent="-146367" algn="l" rtl="0" eaLnBrk="1" fontAlgn="base" hangingPunct="1">
        <a:lnSpc>
          <a:spcPct val="90000"/>
        </a:lnSpc>
        <a:spcBef>
          <a:spcPct val="0"/>
        </a:spcBef>
        <a:spcAft>
          <a:spcPct val="30000"/>
        </a:spcAft>
        <a:buFont typeface="Arial" charset="0"/>
        <a:buChar char="–"/>
        <a:defRPr sz="1200">
          <a:solidFill>
            <a:srgbClr val="646464"/>
          </a:solidFill>
          <a:latin typeface="+mn-lt"/>
        </a:defRPr>
      </a:lvl4pPr>
      <a:lvl5pPr marL="816322" indent="-130898" algn="l" rtl="0" eaLnBrk="1" fontAlgn="base" hangingPunct="1">
        <a:lnSpc>
          <a:spcPct val="90000"/>
        </a:lnSpc>
        <a:spcBef>
          <a:spcPct val="0"/>
        </a:spcBef>
        <a:spcAft>
          <a:spcPct val="30000"/>
        </a:spcAft>
        <a:buFont typeface="Arial"/>
        <a:buChar char="•"/>
        <a:defRPr sz="1200">
          <a:solidFill>
            <a:srgbClr val="646464"/>
          </a:solidFill>
          <a:latin typeface="+mn-lt"/>
        </a:defRPr>
      </a:lvl5pPr>
      <a:lvl6pPr marL="1159034"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747"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458"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171"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424" rtl="0" eaLnBrk="1" latinLnBrk="0" hangingPunct="1">
        <a:defRPr sz="1350" kern="1200">
          <a:solidFill>
            <a:schemeClr val="tx1"/>
          </a:solidFill>
          <a:latin typeface="+mn-lt"/>
          <a:ea typeface="+mn-ea"/>
          <a:cs typeface="+mn-cs"/>
        </a:defRPr>
      </a:lvl1pPr>
      <a:lvl2pPr marL="342712" algn="l" defTabSz="685424" rtl="0" eaLnBrk="1" latinLnBrk="0" hangingPunct="1">
        <a:defRPr sz="1350" kern="1200">
          <a:solidFill>
            <a:schemeClr val="tx1"/>
          </a:solidFill>
          <a:latin typeface="+mn-lt"/>
          <a:ea typeface="+mn-ea"/>
          <a:cs typeface="+mn-cs"/>
        </a:defRPr>
      </a:lvl2pPr>
      <a:lvl3pPr marL="685424" algn="l" defTabSz="685424" rtl="0" eaLnBrk="1" latinLnBrk="0" hangingPunct="1">
        <a:defRPr sz="1350" kern="1200">
          <a:solidFill>
            <a:schemeClr val="tx1"/>
          </a:solidFill>
          <a:latin typeface="+mn-lt"/>
          <a:ea typeface="+mn-ea"/>
          <a:cs typeface="+mn-cs"/>
        </a:defRPr>
      </a:lvl3pPr>
      <a:lvl4pPr marL="1028137" algn="l" defTabSz="685424" rtl="0" eaLnBrk="1" latinLnBrk="0" hangingPunct="1">
        <a:defRPr sz="1350" kern="1200">
          <a:solidFill>
            <a:schemeClr val="tx1"/>
          </a:solidFill>
          <a:latin typeface="+mn-lt"/>
          <a:ea typeface="+mn-ea"/>
          <a:cs typeface="+mn-cs"/>
        </a:defRPr>
      </a:lvl4pPr>
      <a:lvl5pPr marL="1370849" algn="l" defTabSz="685424" rtl="0" eaLnBrk="1" latinLnBrk="0" hangingPunct="1">
        <a:defRPr sz="1350" kern="1200">
          <a:solidFill>
            <a:schemeClr val="tx1"/>
          </a:solidFill>
          <a:latin typeface="+mn-lt"/>
          <a:ea typeface="+mn-ea"/>
          <a:cs typeface="+mn-cs"/>
        </a:defRPr>
      </a:lvl5pPr>
      <a:lvl6pPr marL="1713562" algn="l" defTabSz="685424" rtl="0" eaLnBrk="1" latinLnBrk="0" hangingPunct="1">
        <a:defRPr sz="1350" kern="1200">
          <a:solidFill>
            <a:schemeClr val="tx1"/>
          </a:solidFill>
          <a:latin typeface="+mn-lt"/>
          <a:ea typeface="+mn-ea"/>
          <a:cs typeface="+mn-cs"/>
        </a:defRPr>
      </a:lvl6pPr>
      <a:lvl7pPr marL="2056274" algn="l" defTabSz="685424" rtl="0" eaLnBrk="1" latinLnBrk="0" hangingPunct="1">
        <a:defRPr sz="1350" kern="1200">
          <a:solidFill>
            <a:schemeClr val="tx1"/>
          </a:solidFill>
          <a:latin typeface="+mn-lt"/>
          <a:ea typeface="+mn-ea"/>
          <a:cs typeface="+mn-cs"/>
        </a:defRPr>
      </a:lvl7pPr>
      <a:lvl8pPr marL="2398986" algn="l" defTabSz="685424" rtl="0" eaLnBrk="1" latinLnBrk="0" hangingPunct="1">
        <a:defRPr sz="1350" kern="1200">
          <a:solidFill>
            <a:schemeClr val="tx1"/>
          </a:solidFill>
          <a:latin typeface="+mn-lt"/>
          <a:ea typeface="+mn-ea"/>
          <a:cs typeface="+mn-cs"/>
        </a:defRPr>
      </a:lvl8pPr>
      <a:lvl9pPr marL="2741699" algn="l" defTabSz="685424"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ava_tag_color_rgb.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354" y="6370211"/>
            <a:ext cx="1224320" cy="333427"/>
          </a:xfrm>
          <a:prstGeom prst="rect">
            <a:avLst/>
          </a:prstGeom>
        </p:spPr>
      </p:pic>
      <p:sp>
        <p:nvSpPr>
          <p:cNvPr id="1026" name="Rectangle 2"/>
          <p:cNvSpPr>
            <a:spLocks noGrp="1" noChangeArrowheads="1"/>
          </p:cNvSpPr>
          <p:nvPr>
            <p:ph type="title"/>
          </p:nvPr>
        </p:nvSpPr>
        <p:spPr bwMode="auto">
          <a:xfrm>
            <a:off x="393805" y="263525"/>
            <a:ext cx="10644465" cy="6810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a:t>
            </a:r>
            <a:br>
              <a:rPr lang="en-US" dirty="0"/>
            </a:br>
            <a:r>
              <a:rPr lang="en-US" dirty="0"/>
              <a:t>Master title style</a:t>
            </a:r>
          </a:p>
        </p:txBody>
      </p:sp>
      <p:sp>
        <p:nvSpPr>
          <p:cNvPr id="1027" name="Rectangle 3"/>
          <p:cNvSpPr>
            <a:spLocks noGrp="1" noChangeArrowheads="1"/>
          </p:cNvSpPr>
          <p:nvPr>
            <p:ph type="body" idx="1"/>
          </p:nvPr>
        </p:nvSpPr>
        <p:spPr bwMode="auto">
          <a:xfrm>
            <a:off x="1124771" y="1092201"/>
            <a:ext cx="9915138" cy="4876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1129009" y="823478"/>
            <a:ext cx="10655535" cy="182261"/>
          </a:xfrm>
          <a:prstGeom prst="rect">
            <a:avLst/>
          </a:prstGeom>
          <a:solidFill>
            <a:schemeClr val="bg2">
              <a:lumMod val="7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10" name="Rectangle 9"/>
          <p:cNvSpPr/>
          <p:nvPr userDrawn="1"/>
        </p:nvSpPr>
        <p:spPr>
          <a:xfrm>
            <a:off x="393804" y="823478"/>
            <a:ext cx="735204" cy="182261"/>
          </a:xfrm>
          <a:prstGeom prst="rect">
            <a:avLst/>
          </a:prstGeom>
          <a:solidFill>
            <a:srgbClr val="FF58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18"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41">
              <a:lnSpc>
                <a:spcPct val="90000"/>
              </a:lnSpc>
              <a:spcAft>
                <a:spcPct val="30000"/>
              </a:spcAft>
            </a:pPr>
            <a:r>
              <a:rPr lang="en-US" sz="450" dirty="0">
                <a:solidFill>
                  <a:srgbClr val="464646"/>
                </a:solidFill>
              </a:rPr>
              <a:t>© 2016 Avanade Inc. All Rights Reserved.</a:t>
            </a:r>
          </a:p>
        </p:txBody>
      </p:sp>
      <p:sp>
        <p:nvSpPr>
          <p:cNvPr id="19" name="Rectangle 18"/>
          <p:cNvSpPr/>
          <p:nvPr userDrawn="1"/>
        </p:nvSpPr>
        <p:spPr>
          <a:xfrm>
            <a:off x="1129009" y="823476"/>
            <a:ext cx="10655535" cy="5296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20" name="Rectangle 19"/>
          <p:cNvSpPr/>
          <p:nvPr userDrawn="1"/>
        </p:nvSpPr>
        <p:spPr>
          <a:xfrm>
            <a:off x="393803" y="823477"/>
            <a:ext cx="735206" cy="52961"/>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43" tIns="34272" rIns="68543" bIns="34272" rtlCol="0" anchor="ctr"/>
          <a:lstStyle/>
          <a:p>
            <a:pPr algn="ctr" defTabSz="455541"/>
            <a:endParaRPr lang="en-US" sz="1799">
              <a:solidFill>
                <a:srgbClr val="FFFFFF"/>
              </a:solidFill>
            </a:endParaRPr>
          </a:p>
        </p:txBody>
      </p:sp>
      <p:sp>
        <p:nvSpPr>
          <p:cNvPr id="83" name="Slide Number Placeholder 2"/>
          <p:cNvSpPr>
            <a:spLocks noGrp="1"/>
          </p:cNvSpPr>
          <p:nvPr>
            <p:ph type="sldNum" sz="quarter" idx="4"/>
          </p:nvPr>
        </p:nvSpPr>
        <p:spPr>
          <a:xfrm>
            <a:off x="11378143" y="6504260"/>
            <a:ext cx="406400" cy="199379"/>
          </a:xfrm>
          <a:prstGeom prst="rect">
            <a:avLst/>
          </a:prstGeom>
        </p:spPr>
        <p:txBody>
          <a:bodyPr lIns="0" tIns="0" rIns="0" bIns="0" anchor="b"/>
          <a:lstStyle>
            <a:lvl1pPr algn="r">
              <a:defRPr sz="825">
                <a:solidFill>
                  <a:schemeClr val="tx2"/>
                </a:solidFill>
              </a:defRPr>
            </a:lvl1pPr>
          </a:lstStyle>
          <a:p>
            <a:pPr defTabSz="455541"/>
            <a:fld id="{5FF2E63E-D57D-4EFD-8380-089500058C9E}" type="slidenum">
              <a:rPr lang="en-US" smtClean="0">
                <a:solidFill>
                  <a:srgbClr val="464646"/>
                </a:solidFill>
              </a:rPr>
              <a:pPr defTabSz="455541"/>
              <a:t>‹#›</a:t>
            </a:fld>
            <a:endParaRPr lang="en-US" dirty="0">
              <a:solidFill>
                <a:srgbClr val="464646"/>
              </a:solidFill>
            </a:endParaRPr>
          </a:p>
        </p:txBody>
      </p:sp>
    </p:spTree>
    <p:extLst>
      <p:ext uri="{BB962C8B-B14F-4D97-AF65-F5344CB8AC3E}">
        <p14:creationId xmlns:p14="http://schemas.microsoft.com/office/powerpoint/2010/main" val="106099574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Lst>
  <p:hf hdr="0" ftr="0" dt="0"/>
  <p:txStyles>
    <p:titleStyle>
      <a:lvl1pPr algn="l" rtl="0" eaLnBrk="1" fontAlgn="base" hangingPunct="1">
        <a:lnSpc>
          <a:spcPct val="80000"/>
        </a:lnSpc>
        <a:spcBef>
          <a:spcPct val="0"/>
        </a:spcBef>
        <a:spcAft>
          <a:spcPct val="30000"/>
        </a:spcAft>
        <a:defRPr sz="1649">
          <a:solidFill>
            <a:schemeClr val="accent1"/>
          </a:solidFill>
          <a:latin typeface="+mj-lt"/>
          <a:ea typeface="+mj-ea"/>
          <a:cs typeface="+mj-cs"/>
        </a:defRPr>
      </a:lvl1pPr>
      <a:lvl2pPr algn="l" rtl="0" eaLnBrk="1" fontAlgn="base" hangingPunct="1">
        <a:lnSpc>
          <a:spcPct val="90000"/>
        </a:lnSpc>
        <a:spcBef>
          <a:spcPct val="0"/>
        </a:spcBef>
        <a:spcAft>
          <a:spcPct val="30000"/>
        </a:spcAft>
        <a:defRPr sz="2399">
          <a:solidFill>
            <a:schemeClr val="tx2"/>
          </a:solidFill>
          <a:latin typeface="Arial" charset="0"/>
        </a:defRPr>
      </a:lvl2pPr>
      <a:lvl3pPr algn="l" rtl="0" eaLnBrk="1" fontAlgn="base" hangingPunct="1">
        <a:lnSpc>
          <a:spcPct val="90000"/>
        </a:lnSpc>
        <a:spcBef>
          <a:spcPct val="0"/>
        </a:spcBef>
        <a:spcAft>
          <a:spcPct val="30000"/>
        </a:spcAft>
        <a:defRPr sz="2399">
          <a:solidFill>
            <a:schemeClr val="tx2"/>
          </a:solidFill>
          <a:latin typeface="Arial" charset="0"/>
        </a:defRPr>
      </a:lvl3pPr>
      <a:lvl4pPr algn="l" rtl="0" eaLnBrk="1" fontAlgn="base" hangingPunct="1">
        <a:lnSpc>
          <a:spcPct val="90000"/>
        </a:lnSpc>
        <a:spcBef>
          <a:spcPct val="0"/>
        </a:spcBef>
        <a:spcAft>
          <a:spcPct val="30000"/>
        </a:spcAft>
        <a:defRPr sz="2399">
          <a:solidFill>
            <a:schemeClr val="tx2"/>
          </a:solidFill>
          <a:latin typeface="Arial" charset="0"/>
        </a:defRPr>
      </a:lvl4pPr>
      <a:lvl5pPr algn="l" rtl="0" eaLnBrk="1" fontAlgn="base" hangingPunct="1">
        <a:lnSpc>
          <a:spcPct val="90000"/>
        </a:lnSpc>
        <a:spcBef>
          <a:spcPct val="0"/>
        </a:spcBef>
        <a:spcAft>
          <a:spcPct val="30000"/>
        </a:spcAft>
        <a:defRPr sz="2399">
          <a:solidFill>
            <a:schemeClr val="tx2"/>
          </a:solidFill>
          <a:latin typeface="Arial" charset="0"/>
        </a:defRPr>
      </a:lvl5pPr>
      <a:lvl6pPr marL="342712" algn="l" rtl="0" eaLnBrk="1" fontAlgn="base" hangingPunct="1">
        <a:spcBef>
          <a:spcPct val="0"/>
        </a:spcBef>
        <a:spcAft>
          <a:spcPct val="0"/>
        </a:spcAft>
        <a:defRPr sz="2399" b="1">
          <a:solidFill>
            <a:schemeClr val="tx2"/>
          </a:solidFill>
          <a:latin typeface="Arial" charset="0"/>
        </a:defRPr>
      </a:lvl6pPr>
      <a:lvl7pPr marL="685424" algn="l" rtl="0" eaLnBrk="1" fontAlgn="base" hangingPunct="1">
        <a:spcBef>
          <a:spcPct val="0"/>
        </a:spcBef>
        <a:spcAft>
          <a:spcPct val="0"/>
        </a:spcAft>
        <a:defRPr sz="2399" b="1">
          <a:solidFill>
            <a:schemeClr val="tx2"/>
          </a:solidFill>
          <a:latin typeface="Arial" charset="0"/>
        </a:defRPr>
      </a:lvl7pPr>
      <a:lvl8pPr marL="1028137" algn="l" rtl="0" eaLnBrk="1" fontAlgn="base" hangingPunct="1">
        <a:spcBef>
          <a:spcPct val="0"/>
        </a:spcBef>
        <a:spcAft>
          <a:spcPct val="0"/>
        </a:spcAft>
        <a:defRPr sz="2399" b="1">
          <a:solidFill>
            <a:schemeClr val="tx2"/>
          </a:solidFill>
          <a:latin typeface="Arial" charset="0"/>
        </a:defRPr>
      </a:lvl8pPr>
      <a:lvl9pPr marL="1370849" algn="l" rtl="0" eaLnBrk="1" fontAlgn="base" hangingPunct="1">
        <a:spcBef>
          <a:spcPct val="0"/>
        </a:spcBef>
        <a:spcAft>
          <a:spcPct val="0"/>
        </a:spcAft>
        <a:defRPr sz="2399" b="1">
          <a:solidFill>
            <a:schemeClr val="tx2"/>
          </a:solidFill>
          <a:latin typeface="Arial" charset="0"/>
        </a:defRPr>
      </a:lvl9pPr>
    </p:titleStyle>
    <p:bodyStyle>
      <a:lvl1pPr marL="130898" indent="-130898" algn="l" rtl="0" eaLnBrk="1" fontAlgn="base" hangingPunct="1">
        <a:lnSpc>
          <a:spcPct val="90000"/>
        </a:lnSpc>
        <a:spcBef>
          <a:spcPct val="0"/>
        </a:spcBef>
        <a:spcAft>
          <a:spcPct val="30000"/>
        </a:spcAft>
        <a:buChar char="•"/>
        <a:defRPr sz="1200">
          <a:solidFill>
            <a:schemeClr val="bg2">
              <a:lumMod val="50000"/>
            </a:schemeClr>
          </a:solidFill>
          <a:latin typeface="+mn-lt"/>
          <a:ea typeface="+mn-ea"/>
          <a:cs typeface="+mn-cs"/>
        </a:defRPr>
      </a:lvl1pPr>
      <a:lvl2pPr marL="317723" indent="-154697" algn="l" rtl="0" eaLnBrk="1" fontAlgn="base" hangingPunct="1">
        <a:lnSpc>
          <a:spcPct val="90000"/>
        </a:lnSpc>
        <a:spcBef>
          <a:spcPct val="0"/>
        </a:spcBef>
        <a:spcAft>
          <a:spcPct val="30000"/>
        </a:spcAft>
        <a:buFont typeface="Arial" charset="0"/>
        <a:buChar char="–"/>
        <a:defRPr sz="1200">
          <a:solidFill>
            <a:schemeClr val="bg2">
              <a:lumMod val="50000"/>
            </a:schemeClr>
          </a:solidFill>
          <a:latin typeface="+mn-lt"/>
        </a:defRPr>
      </a:lvl2pPr>
      <a:lvl3pPr marL="489079" indent="-146367" algn="l" rtl="0" eaLnBrk="1" fontAlgn="base" hangingPunct="1">
        <a:lnSpc>
          <a:spcPct val="90000"/>
        </a:lnSpc>
        <a:spcBef>
          <a:spcPct val="0"/>
        </a:spcBef>
        <a:spcAft>
          <a:spcPct val="30000"/>
        </a:spcAft>
        <a:buFont typeface="Wingdings" pitchFamily="2" charset="2"/>
        <a:buChar char="§"/>
        <a:defRPr sz="1200">
          <a:solidFill>
            <a:schemeClr val="bg2">
              <a:lumMod val="50000"/>
            </a:schemeClr>
          </a:solidFill>
          <a:latin typeface="+mn-lt"/>
        </a:defRPr>
      </a:lvl3pPr>
      <a:lvl4pPr marL="660435" indent="-146367" algn="l" rtl="0" eaLnBrk="1" fontAlgn="base" hangingPunct="1">
        <a:lnSpc>
          <a:spcPct val="90000"/>
        </a:lnSpc>
        <a:spcBef>
          <a:spcPct val="0"/>
        </a:spcBef>
        <a:spcAft>
          <a:spcPct val="30000"/>
        </a:spcAft>
        <a:buFont typeface="Arial" charset="0"/>
        <a:buChar char="–"/>
        <a:defRPr sz="1200">
          <a:solidFill>
            <a:schemeClr val="bg2">
              <a:lumMod val="50000"/>
            </a:schemeClr>
          </a:solidFill>
          <a:latin typeface="+mn-lt"/>
        </a:defRPr>
      </a:lvl4pPr>
      <a:lvl5pPr marL="816322" indent="-130898" algn="l" rtl="0" eaLnBrk="1" fontAlgn="base" hangingPunct="1">
        <a:lnSpc>
          <a:spcPct val="90000"/>
        </a:lnSpc>
        <a:spcBef>
          <a:spcPct val="0"/>
        </a:spcBef>
        <a:spcAft>
          <a:spcPct val="30000"/>
        </a:spcAft>
        <a:buFont typeface="Arial"/>
        <a:buChar char="•"/>
        <a:defRPr sz="1200">
          <a:solidFill>
            <a:schemeClr val="bg2">
              <a:lumMod val="50000"/>
            </a:schemeClr>
          </a:solidFill>
          <a:latin typeface="+mn-lt"/>
        </a:defRPr>
      </a:lvl5pPr>
      <a:lvl6pPr marL="1159034"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747"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458"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171"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424" rtl="0" eaLnBrk="1" latinLnBrk="0" hangingPunct="1">
        <a:defRPr sz="1350" kern="1200">
          <a:solidFill>
            <a:schemeClr val="tx1"/>
          </a:solidFill>
          <a:latin typeface="+mn-lt"/>
          <a:ea typeface="+mn-ea"/>
          <a:cs typeface="+mn-cs"/>
        </a:defRPr>
      </a:lvl1pPr>
      <a:lvl2pPr marL="342712" algn="l" defTabSz="685424" rtl="0" eaLnBrk="1" latinLnBrk="0" hangingPunct="1">
        <a:defRPr sz="1350" kern="1200">
          <a:solidFill>
            <a:schemeClr val="tx1"/>
          </a:solidFill>
          <a:latin typeface="+mn-lt"/>
          <a:ea typeface="+mn-ea"/>
          <a:cs typeface="+mn-cs"/>
        </a:defRPr>
      </a:lvl2pPr>
      <a:lvl3pPr marL="685424" algn="l" defTabSz="685424" rtl="0" eaLnBrk="1" latinLnBrk="0" hangingPunct="1">
        <a:defRPr sz="1350" kern="1200">
          <a:solidFill>
            <a:schemeClr val="tx1"/>
          </a:solidFill>
          <a:latin typeface="+mn-lt"/>
          <a:ea typeface="+mn-ea"/>
          <a:cs typeface="+mn-cs"/>
        </a:defRPr>
      </a:lvl3pPr>
      <a:lvl4pPr marL="1028137" algn="l" defTabSz="685424" rtl="0" eaLnBrk="1" latinLnBrk="0" hangingPunct="1">
        <a:defRPr sz="1350" kern="1200">
          <a:solidFill>
            <a:schemeClr val="tx1"/>
          </a:solidFill>
          <a:latin typeface="+mn-lt"/>
          <a:ea typeface="+mn-ea"/>
          <a:cs typeface="+mn-cs"/>
        </a:defRPr>
      </a:lvl4pPr>
      <a:lvl5pPr marL="1370849" algn="l" defTabSz="685424" rtl="0" eaLnBrk="1" latinLnBrk="0" hangingPunct="1">
        <a:defRPr sz="1350" kern="1200">
          <a:solidFill>
            <a:schemeClr val="tx1"/>
          </a:solidFill>
          <a:latin typeface="+mn-lt"/>
          <a:ea typeface="+mn-ea"/>
          <a:cs typeface="+mn-cs"/>
        </a:defRPr>
      </a:lvl5pPr>
      <a:lvl6pPr marL="1713562" algn="l" defTabSz="685424" rtl="0" eaLnBrk="1" latinLnBrk="0" hangingPunct="1">
        <a:defRPr sz="1350" kern="1200">
          <a:solidFill>
            <a:schemeClr val="tx1"/>
          </a:solidFill>
          <a:latin typeface="+mn-lt"/>
          <a:ea typeface="+mn-ea"/>
          <a:cs typeface="+mn-cs"/>
        </a:defRPr>
      </a:lvl6pPr>
      <a:lvl7pPr marL="2056274" algn="l" defTabSz="685424" rtl="0" eaLnBrk="1" latinLnBrk="0" hangingPunct="1">
        <a:defRPr sz="1350" kern="1200">
          <a:solidFill>
            <a:schemeClr val="tx1"/>
          </a:solidFill>
          <a:latin typeface="+mn-lt"/>
          <a:ea typeface="+mn-ea"/>
          <a:cs typeface="+mn-cs"/>
        </a:defRPr>
      </a:lvl7pPr>
      <a:lvl8pPr marL="2398986" algn="l" defTabSz="685424" rtl="0" eaLnBrk="1" latinLnBrk="0" hangingPunct="1">
        <a:defRPr sz="1350" kern="1200">
          <a:solidFill>
            <a:schemeClr val="tx1"/>
          </a:solidFill>
          <a:latin typeface="+mn-lt"/>
          <a:ea typeface="+mn-ea"/>
          <a:cs typeface="+mn-cs"/>
        </a:defRPr>
      </a:lvl8pPr>
      <a:lvl9pPr marL="2741699" algn="l" defTabSz="685424"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5224" y="301626"/>
            <a:ext cx="10850033"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75224" y="1460504"/>
            <a:ext cx="10850033" cy="4441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5"/>
          <p:cNvSpPr txBox="1">
            <a:spLocks noChangeArrowheads="1"/>
          </p:cNvSpPr>
          <p:nvPr userDrawn="1"/>
        </p:nvSpPr>
        <p:spPr bwMode="auto">
          <a:xfrm>
            <a:off x="4852503" y="6531625"/>
            <a:ext cx="2486994" cy="165099"/>
          </a:xfrm>
          <a:prstGeom prst="rect">
            <a:avLst/>
          </a:prstGeom>
          <a:noFill/>
          <a:ln w="9525">
            <a:noFill/>
            <a:miter lim="800000"/>
            <a:headEnd/>
            <a:tailEnd/>
          </a:ln>
          <a:effectLst/>
        </p:spPr>
        <p:txBody>
          <a:bodyPr lIns="0" tIns="0" rIns="0" bIns="0" anchor="b"/>
          <a:lstStyle/>
          <a:p>
            <a:pPr algn="ctr" defTabSz="341804">
              <a:lnSpc>
                <a:spcPct val="90000"/>
              </a:lnSpc>
              <a:spcAft>
                <a:spcPct val="30000"/>
              </a:spcAft>
              <a:defRPr/>
            </a:pPr>
            <a:r>
              <a:rPr lang="en-US" sz="337" dirty="0">
                <a:solidFill>
                  <a:srgbClr val="464646"/>
                </a:solidFill>
              </a:rPr>
              <a:t>© 2016 Avanade Inc. All Rights Reserved.</a:t>
            </a:r>
          </a:p>
        </p:txBody>
      </p:sp>
      <p:sp>
        <p:nvSpPr>
          <p:cNvPr id="14" name="Slide Number Placeholder 2"/>
          <p:cNvSpPr txBox="1">
            <a:spLocks/>
          </p:cNvSpPr>
          <p:nvPr userDrawn="1"/>
        </p:nvSpPr>
        <p:spPr>
          <a:xfrm>
            <a:off x="11378144" y="6504259"/>
            <a:ext cx="406400" cy="199379"/>
          </a:xfrm>
          <a:prstGeom prst="rect">
            <a:avLst/>
          </a:prstGeom>
        </p:spPr>
        <p:txBody>
          <a:bodyPr lIns="0" tIns="0" rIns="0" bIns="0" anchor="b"/>
          <a:lstStyle>
            <a:defPPr>
              <a:defRPr lang="en-US"/>
            </a:defPPr>
            <a:lvl1pPr marL="0" algn="r" defTabSz="607720" rtl="0" eaLnBrk="1" latinLnBrk="0" hangingPunct="1">
              <a:defRPr sz="1050" kern="1200">
                <a:solidFill>
                  <a:schemeClr val="tx2"/>
                </a:solidFill>
                <a:latin typeface="+mn-lt"/>
                <a:ea typeface="+mn-ea"/>
                <a:cs typeface="+mn-cs"/>
              </a:defRPr>
            </a:lvl1pPr>
            <a:lvl2pPr marL="607720" algn="l" defTabSz="607720" rtl="0" eaLnBrk="1" latinLnBrk="0" hangingPunct="1">
              <a:defRPr sz="2400" kern="1200">
                <a:solidFill>
                  <a:schemeClr val="tx1"/>
                </a:solidFill>
                <a:latin typeface="+mn-lt"/>
                <a:ea typeface="+mn-ea"/>
                <a:cs typeface="+mn-cs"/>
              </a:defRPr>
            </a:lvl2pPr>
            <a:lvl3pPr marL="1215441" algn="l" defTabSz="607720" rtl="0" eaLnBrk="1" latinLnBrk="0" hangingPunct="1">
              <a:defRPr sz="2400" kern="1200">
                <a:solidFill>
                  <a:schemeClr val="tx1"/>
                </a:solidFill>
                <a:latin typeface="+mn-lt"/>
                <a:ea typeface="+mn-ea"/>
                <a:cs typeface="+mn-cs"/>
              </a:defRPr>
            </a:lvl3pPr>
            <a:lvl4pPr marL="1823161" algn="l" defTabSz="607720" rtl="0" eaLnBrk="1" latinLnBrk="0" hangingPunct="1">
              <a:defRPr sz="2400" kern="1200">
                <a:solidFill>
                  <a:schemeClr val="tx1"/>
                </a:solidFill>
                <a:latin typeface="+mn-lt"/>
                <a:ea typeface="+mn-ea"/>
                <a:cs typeface="+mn-cs"/>
              </a:defRPr>
            </a:lvl4pPr>
            <a:lvl5pPr marL="2430875" algn="l" defTabSz="607720" rtl="0" eaLnBrk="1" latinLnBrk="0" hangingPunct="1">
              <a:defRPr sz="2400" kern="1200">
                <a:solidFill>
                  <a:schemeClr val="tx1"/>
                </a:solidFill>
                <a:latin typeface="+mn-lt"/>
                <a:ea typeface="+mn-ea"/>
                <a:cs typeface="+mn-cs"/>
              </a:defRPr>
            </a:lvl5pPr>
            <a:lvl6pPr marL="3038583" algn="l" defTabSz="607720" rtl="0" eaLnBrk="1" latinLnBrk="0" hangingPunct="1">
              <a:defRPr sz="2400" kern="1200">
                <a:solidFill>
                  <a:schemeClr val="tx1"/>
                </a:solidFill>
                <a:latin typeface="+mn-lt"/>
                <a:ea typeface="+mn-ea"/>
                <a:cs typeface="+mn-cs"/>
              </a:defRPr>
            </a:lvl6pPr>
            <a:lvl7pPr marL="3646318" algn="l" defTabSz="607720" rtl="0" eaLnBrk="1" latinLnBrk="0" hangingPunct="1">
              <a:defRPr sz="2400" kern="1200">
                <a:solidFill>
                  <a:schemeClr val="tx1"/>
                </a:solidFill>
                <a:latin typeface="+mn-lt"/>
                <a:ea typeface="+mn-ea"/>
                <a:cs typeface="+mn-cs"/>
              </a:defRPr>
            </a:lvl7pPr>
            <a:lvl8pPr marL="4254022" algn="l" defTabSz="607720" rtl="0" eaLnBrk="1" latinLnBrk="0" hangingPunct="1">
              <a:defRPr sz="2400" kern="1200">
                <a:solidFill>
                  <a:schemeClr val="tx1"/>
                </a:solidFill>
                <a:latin typeface="+mn-lt"/>
                <a:ea typeface="+mn-ea"/>
                <a:cs typeface="+mn-cs"/>
              </a:defRPr>
            </a:lvl8pPr>
            <a:lvl9pPr marL="4861725" algn="l" defTabSz="607720" rtl="0" eaLnBrk="1" latinLnBrk="0" hangingPunct="1">
              <a:defRPr sz="2400" kern="1200">
                <a:solidFill>
                  <a:schemeClr val="tx1"/>
                </a:solidFill>
                <a:latin typeface="+mn-lt"/>
                <a:ea typeface="+mn-ea"/>
                <a:cs typeface="+mn-cs"/>
              </a:defRPr>
            </a:lvl9pPr>
          </a:lstStyle>
          <a:p>
            <a:pPr defTabSz="341804">
              <a:defRPr/>
            </a:pPr>
            <a:fld id="{5FF2E63E-D57D-4EFD-8380-089500058C9E}" type="slidenum">
              <a:rPr lang="en-US" sz="618" smtClean="0">
                <a:solidFill>
                  <a:srgbClr val="464646"/>
                </a:solidFill>
              </a:rPr>
              <a:pPr defTabSz="341804">
                <a:defRPr/>
              </a:pPr>
              <a:t>‹#›</a:t>
            </a:fld>
            <a:endParaRPr lang="en-US" sz="618" dirty="0">
              <a:solidFill>
                <a:srgbClr val="464646"/>
              </a:solidFill>
            </a:endParaRPr>
          </a:p>
        </p:txBody>
      </p:sp>
      <p:pic>
        <p:nvPicPr>
          <p:cNvPr id="7" name="Picture 6" descr="ava_tag_color_rgb.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354" y="6370211"/>
            <a:ext cx="1224318" cy="333427"/>
          </a:xfrm>
          <a:prstGeom prst="rect">
            <a:avLst/>
          </a:prstGeom>
        </p:spPr>
      </p:pic>
    </p:spTree>
    <p:extLst>
      <p:ext uri="{BB962C8B-B14F-4D97-AF65-F5344CB8AC3E}">
        <p14:creationId xmlns:p14="http://schemas.microsoft.com/office/powerpoint/2010/main" val="381085194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ftr="0" dt="0"/>
  <p:txStyles>
    <p:titleStyle>
      <a:lvl1pPr algn="l" rtl="0" eaLnBrk="1" fontAlgn="base" hangingPunct="1">
        <a:lnSpc>
          <a:spcPct val="90000"/>
        </a:lnSpc>
        <a:spcBef>
          <a:spcPct val="0"/>
        </a:spcBef>
        <a:spcAft>
          <a:spcPct val="30000"/>
        </a:spcAft>
        <a:defRPr sz="1800">
          <a:solidFill>
            <a:srgbClr val="F86B16"/>
          </a:solidFill>
          <a:latin typeface="+mj-lt"/>
          <a:ea typeface="+mj-ea"/>
          <a:cs typeface="+mj-cs"/>
        </a:defRPr>
      </a:lvl1pPr>
      <a:lvl2pPr algn="l" rtl="0" eaLnBrk="1" fontAlgn="base" hangingPunct="1">
        <a:lnSpc>
          <a:spcPct val="90000"/>
        </a:lnSpc>
        <a:spcBef>
          <a:spcPct val="0"/>
        </a:spcBef>
        <a:spcAft>
          <a:spcPct val="30000"/>
        </a:spcAft>
        <a:defRPr sz="1800">
          <a:solidFill>
            <a:schemeClr val="tx2"/>
          </a:solidFill>
          <a:latin typeface="Arial" charset="0"/>
        </a:defRPr>
      </a:lvl2pPr>
      <a:lvl3pPr algn="l" rtl="0" eaLnBrk="1" fontAlgn="base" hangingPunct="1">
        <a:lnSpc>
          <a:spcPct val="90000"/>
        </a:lnSpc>
        <a:spcBef>
          <a:spcPct val="0"/>
        </a:spcBef>
        <a:spcAft>
          <a:spcPct val="30000"/>
        </a:spcAft>
        <a:defRPr sz="1800">
          <a:solidFill>
            <a:schemeClr val="tx2"/>
          </a:solidFill>
          <a:latin typeface="Arial" charset="0"/>
        </a:defRPr>
      </a:lvl3pPr>
      <a:lvl4pPr algn="l" rtl="0" eaLnBrk="1" fontAlgn="base" hangingPunct="1">
        <a:lnSpc>
          <a:spcPct val="90000"/>
        </a:lnSpc>
        <a:spcBef>
          <a:spcPct val="0"/>
        </a:spcBef>
        <a:spcAft>
          <a:spcPct val="30000"/>
        </a:spcAft>
        <a:defRPr sz="1800">
          <a:solidFill>
            <a:schemeClr val="tx2"/>
          </a:solidFill>
          <a:latin typeface="Arial" charset="0"/>
        </a:defRPr>
      </a:lvl4pPr>
      <a:lvl5pPr algn="l" rtl="0" eaLnBrk="1" fontAlgn="base" hangingPunct="1">
        <a:lnSpc>
          <a:spcPct val="90000"/>
        </a:lnSpc>
        <a:spcBef>
          <a:spcPct val="0"/>
        </a:spcBef>
        <a:spcAft>
          <a:spcPct val="30000"/>
        </a:spcAft>
        <a:defRPr sz="1800">
          <a:solidFill>
            <a:schemeClr val="tx2"/>
          </a:solidFill>
          <a:latin typeface="Arial" charset="0"/>
        </a:defRPr>
      </a:lvl5pPr>
      <a:lvl6pPr marL="257145" algn="l" rtl="0" eaLnBrk="1" fontAlgn="base" hangingPunct="1">
        <a:spcBef>
          <a:spcPct val="0"/>
        </a:spcBef>
        <a:spcAft>
          <a:spcPct val="0"/>
        </a:spcAft>
        <a:defRPr sz="1800" b="1">
          <a:solidFill>
            <a:schemeClr val="tx2"/>
          </a:solidFill>
          <a:latin typeface="Arial" charset="0"/>
        </a:defRPr>
      </a:lvl6pPr>
      <a:lvl7pPr marL="514292" algn="l" rtl="0" eaLnBrk="1" fontAlgn="base" hangingPunct="1">
        <a:spcBef>
          <a:spcPct val="0"/>
        </a:spcBef>
        <a:spcAft>
          <a:spcPct val="0"/>
        </a:spcAft>
        <a:defRPr sz="1800" b="1">
          <a:solidFill>
            <a:schemeClr val="tx2"/>
          </a:solidFill>
          <a:latin typeface="Arial" charset="0"/>
        </a:defRPr>
      </a:lvl7pPr>
      <a:lvl8pPr marL="771438" algn="l" rtl="0" eaLnBrk="1" fontAlgn="base" hangingPunct="1">
        <a:spcBef>
          <a:spcPct val="0"/>
        </a:spcBef>
        <a:spcAft>
          <a:spcPct val="0"/>
        </a:spcAft>
        <a:defRPr sz="1800" b="1">
          <a:solidFill>
            <a:schemeClr val="tx2"/>
          </a:solidFill>
          <a:latin typeface="Arial" charset="0"/>
        </a:defRPr>
      </a:lvl8pPr>
      <a:lvl9pPr marL="1028582" algn="l" rtl="0" eaLnBrk="1" fontAlgn="base" hangingPunct="1">
        <a:spcBef>
          <a:spcPct val="0"/>
        </a:spcBef>
        <a:spcAft>
          <a:spcPct val="0"/>
        </a:spcAft>
        <a:defRPr sz="1800" b="1">
          <a:solidFill>
            <a:schemeClr val="tx2"/>
          </a:solidFill>
          <a:latin typeface="Arial" charset="0"/>
        </a:defRPr>
      </a:lvl9pPr>
    </p:titleStyle>
    <p:bodyStyle>
      <a:lvl1pPr marL="98216" indent="-98216" algn="l" rtl="0" eaLnBrk="1" fontAlgn="base" hangingPunct="1">
        <a:lnSpc>
          <a:spcPct val="90000"/>
        </a:lnSpc>
        <a:spcBef>
          <a:spcPct val="0"/>
        </a:spcBef>
        <a:spcAft>
          <a:spcPct val="30000"/>
        </a:spcAft>
        <a:buChar char="•"/>
        <a:defRPr sz="899">
          <a:solidFill>
            <a:srgbClr val="646464"/>
          </a:solidFill>
          <a:latin typeface="+mn-lt"/>
          <a:ea typeface="+mn-ea"/>
          <a:cs typeface="+mn-cs"/>
        </a:defRPr>
      </a:lvl1pPr>
      <a:lvl2pPr marL="238396" indent="-116073" algn="l" rtl="0" eaLnBrk="1" fontAlgn="base" hangingPunct="1">
        <a:lnSpc>
          <a:spcPct val="90000"/>
        </a:lnSpc>
        <a:spcBef>
          <a:spcPct val="0"/>
        </a:spcBef>
        <a:spcAft>
          <a:spcPct val="30000"/>
        </a:spcAft>
        <a:buFont typeface="Arial" charset="0"/>
        <a:buChar char="–"/>
        <a:defRPr sz="899">
          <a:solidFill>
            <a:srgbClr val="646464"/>
          </a:solidFill>
          <a:latin typeface="+mn-lt"/>
        </a:defRPr>
      </a:lvl2pPr>
      <a:lvl3pPr marL="366969" indent="-109823" algn="l" rtl="0" eaLnBrk="1" fontAlgn="base" hangingPunct="1">
        <a:lnSpc>
          <a:spcPct val="90000"/>
        </a:lnSpc>
        <a:spcBef>
          <a:spcPct val="0"/>
        </a:spcBef>
        <a:spcAft>
          <a:spcPct val="30000"/>
        </a:spcAft>
        <a:buFont typeface="Wingdings" pitchFamily="2" charset="2"/>
        <a:buChar char="§"/>
        <a:defRPr sz="899">
          <a:solidFill>
            <a:srgbClr val="646464"/>
          </a:solidFill>
          <a:latin typeface="+mn-lt"/>
        </a:defRPr>
      </a:lvl3pPr>
      <a:lvl4pPr marL="495541" indent="-109823" algn="l" rtl="0" eaLnBrk="1" fontAlgn="base" hangingPunct="1">
        <a:lnSpc>
          <a:spcPct val="90000"/>
        </a:lnSpc>
        <a:spcBef>
          <a:spcPct val="0"/>
        </a:spcBef>
        <a:spcAft>
          <a:spcPct val="30000"/>
        </a:spcAft>
        <a:buFont typeface="Arial" charset="0"/>
        <a:buChar char="–"/>
        <a:defRPr sz="899">
          <a:solidFill>
            <a:srgbClr val="646464"/>
          </a:solidFill>
          <a:latin typeface="+mn-lt"/>
        </a:defRPr>
      </a:lvl4pPr>
      <a:lvl5pPr marL="612507" indent="-98216" algn="l" rtl="0" eaLnBrk="1" fontAlgn="base" hangingPunct="1">
        <a:lnSpc>
          <a:spcPct val="90000"/>
        </a:lnSpc>
        <a:spcBef>
          <a:spcPct val="0"/>
        </a:spcBef>
        <a:spcAft>
          <a:spcPct val="30000"/>
        </a:spcAft>
        <a:buFont typeface="Arial"/>
        <a:buChar char="•"/>
        <a:defRPr sz="899">
          <a:solidFill>
            <a:srgbClr val="646464"/>
          </a:solidFill>
          <a:latin typeface="+mn-lt"/>
        </a:defRPr>
      </a:lvl5pPr>
      <a:lvl6pPr marL="869653" indent="-98216" algn="l" rtl="0" eaLnBrk="1" fontAlgn="base" hangingPunct="1">
        <a:lnSpc>
          <a:spcPct val="90000"/>
        </a:lnSpc>
        <a:spcBef>
          <a:spcPct val="20000"/>
        </a:spcBef>
        <a:spcAft>
          <a:spcPct val="0"/>
        </a:spcAft>
        <a:buFont typeface="Arial" charset="0"/>
        <a:buChar char="–"/>
        <a:defRPr sz="899">
          <a:solidFill>
            <a:schemeClr val="tx1"/>
          </a:solidFill>
          <a:latin typeface="+mn-lt"/>
        </a:defRPr>
      </a:lvl6pPr>
      <a:lvl7pPr marL="1126799" indent="-98216" algn="l" rtl="0" eaLnBrk="1" fontAlgn="base" hangingPunct="1">
        <a:lnSpc>
          <a:spcPct val="90000"/>
        </a:lnSpc>
        <a:spcBef>
          <a:spcPct val="20000"/>
        </a:spcBef>
        <a:spcAft>
          <a:spcPct val="0"/>
        </a:spcAft>
        <a:buFont typeface="Arial" charset="0"/>
        <a:buChar char="–"/>
        <a:defRPr sz="899">
          <a:solidFill>
            <a:schemeClr val="tx1"/>
          </a:solidFill>
          <a:latin typeface="+mn-lt"/>
        </a:defRPr>
      </a:lvl7pPr>
      <a:lvl8pPr marL="1383943" indent="-98216" algn="l" rtl="0" eaLnBrk="1" fontAlgn="base" hangingPunct="1">
        <a:lnSpc>
          <a:spcPct val="90000"/>
        </a:lnSpc>
        <a:spcBef>
          <a:spcPct val="20000"/>
        </a:spcBef>
        <a:spcAft>
          <a:spcPct val="0"/>
        </a:spcAft>
        <a:buFont typeface="Arial" charset="0"/>
        <a:buChar char="–"/>
        <a:defRPr sz="899">
          <a:solidFill>
            <a:schemeClr val="tx1"/>
          </a:solidFill>
          <a:latin typeface="+mn-lt"/>
        </a:defRPr>
      </a:lvl8pPr>
      <a:lvl9pPr marL="1641089" indent="-98216" algn="l" rtl="0" eaLnBrk="1" fontAlgn="base" hangingPunct="1">
        <a:lnSpc>
          <a:spcPct val="90000"/>
        </a:lnSpc>
        <a:spcBef>
          <a:spcPct val="20000"/>
        </a:spcBef>
        <a:spcAft>
          <a:spcPct val="0"/>
        </a:spcAft>
        <a:buFont typeface="Arial" charset="0"/>
        <a:buChar char="–"/>
        <a:defRPr sz="899">
          <a:solidFill>
            <a:schemeClr val="tx1"/>
          </a:solidFill>
          <a:latin typeface="+mn-lt"/>
        </a:defRPr>
      </a:lvl9pPr>
    </p:bodyStyle>
    <p:otherStyle>
      <a:defPPr>
        <a:defRPr lang="en-US"/>
      </a:defPPr>
      <a:lvl1pPr marL="0" algn="l" defTabSz="514292" rtl="0" eaLnBrk="1" latinLnBrk="0" hangingPunct="1">
        <a:defRPr sz="1012" kern="1200">
          <a:solidFill>
            <a:schemeClr val="tx1"/>
          </a:solidFill>
          <a:latin typeface="+mn-lt"/>
          <a:ea typeface="+mn-ea"/>
          <a:cs typeface="+mn-cs"/>
        </a:defRPr>
      </a:lvl1pPr>
      <a:lvl2pPr marL="257145" algn="l" defTabSz="514292" rtl="0" eaLnBrk="1" latinLnBrk="0" hangingPunct="1">
        <a:defRPr sz="1012" kern="1200">
          <a:solidFill>
            <a:schemeClr val="tx1"/>
          </a:solidFill>
          <a:latin typeface="+mn-lt"/>
          <a:ea typeface="+mn-ea"/>
          <a:cs typeface="+mn-cs"/>
        </a:defRPr>
      </a:lvl2pPr>
      <a:lvl3pPr marL="514292" algn="l" defTabSz="514292" rtl="0" eaLnBrk="1" latinLnBrk="0" hangingPunct="1">
        <a:defRPr sz="1012" kern="1200">
          <a:solidFill>
            <a:schemeClr val="tx1"/>
          </a:solidFill>
          <a:latin typeface="+mn-lt"/>
          <a:ea typeface="+mn-ea"/>
          <a:cs typeface="+mn-cs"/>
        </a:defRPr>
      </a:lvl3pPr>
      <a:lvl4pPr marL="771438" algn="l" defTabSz="514292" rtl="0" eaLnBrk="1" latinLnBrk="0" hangingPunct="1">
        <a:defRPr sz="1012" kern="1200">
          <a:solidFill>
            <a:schemeClr val="tx1"/>
          </a:solidFill>
          <a:latin typeface="+mn-lt"/>
          <a:ea typeface="+mn-ea"/>
          <a:cs typeface="+mn-cs"/>
        </a:defRPr>
      </a:lvl4pPr>
      <a:lvl5pPr marL="1028582" algn="l" defTabSz="514292" rtl="0" eaLnBrk="1" latinLnBrk="0" hangingPunct="1">
        <a:defRPr sz="1012" kern="1200">
          <a:solidFill>
            <a:schemeClr val="tx1"/>
          </a:solidFill>
          <a:latin typeface="+mn-lt"/>
          <a:ea typeface="+mn-ea"/>
          <a:cs typeface="+mn-cs"/>
        </a:defRPr>
      </a:lvl5pPr>
      <a:lvl6pPr marL="1285729" algn="l" defTabSz="514292" rtl="0" eaLnBrk="1" latinLnBrk="0" hangingPunct="1">
        <a:defRPr sz="1012" kern="1200">
          <a:solidFill>
            <a:schemeClr val="tx1"/>
          </a:solidFill>
          <a:latin typeface="+mn-lt"/>
          <a:ea typeface="+mn-ea"/>
          <a:cs typeface="+mn-cs"/>
        </a:defRPr>
      </a:lvl6pPr>
      <a:lvl7pPr marL="1542874" algn="l" defTabSz="514292" rtl="0" eaLnBrk="1" latinLnBrk="0" hangingPunct="1">
        <a:defRPr sz="1012" kern="1200">
          <a:solidFill>
            <a:schemeClr val="tx1"/>
          </a:solidFill>
          <a:latin typeface="+mn-lt"/>
          <a:ea typeface="+mn-ea"/>
          <a:cs typeface="+mn-cs"/>
        </a:defRPr>
      </a:lvl7pPr>
      <a:lvl8pPr marL="1800019" algn="l" defTabSz="514292" rtl="0" eaLnBrk="1" latinLnBrk="0" hangingPunct="1">
        <a:defRPr sz="1012" kern="1200">
          <a:solidFill>
            <a:schemeClr val="tx1"/>
          </a:solidFill>
          <a:latin typeface="+mn-lt"/>
          <a:ea typeface="+mn-ea"/>
          <a:cs typeface="+mn-cs"/>
        </a:defRPr>
      </a:lvl8pPr>
      <a:lvl9pPr marL="2057164" algn="l" defTabSz="514292" rtl="0" eaLnBrk="1" latinLnBrk="0" hangingPunct="1">
        <a:defRPr sz="1012"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75222" y="301626"/>
            <a:ext cx="1085003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75222" y="1460503"/>
            <a:ext cx="10850035" cy="4441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5"/>
          <p:cNvSpPr txBox="1">
            <a:spLocks noChangeArrowheads="1"/>
          </p:cNvSpPr>
          <p:nvPr userDrawn="1"/>
        </p:nvSpPr>
        <p:spPr bwMode="auto">
          <a:xfrm>
            <a:off x="4852504" y="6531625"/>
            <a:ext cx="2486994" cy="165099"/>
          </a:xfrm>
          <a:prstGeom prst="rect">
            <a:avLst/>
          </a:prstGeom>
          <a:noFill/>
          <a:ln w="9525">
            <a:noFill/>
            <a:miter lim="800000"/>
            <a:headEnd/>
            <a:tailEnd/>
          </a:ln>
          <a:effectLst/>
        </p:spPr>
        <p:txBody>
          <a:bodyPr lIns="0" tIns="0" rIns="0" bIns="0" anchor="b"/>
          <a:lstStyle/>
          <a:p>
            <a:pPr algn="ctr" defTabSz="455541">
              <a:lnSpc>
                <a:spcPct val="90000"/>
              </a:lnSpc>
              <a:spcAft>
                <a:spcPct val="30000"/>
              </a:spcAft>
              <a:defRPr/>
            </a:pPr>
            <a:r>
              <a:rPr lang="en-US" sz="450" dirty="0">
                <a:solidFill>
                  <a:srgbClr val="464646"/>
                </a:solidFill>
              </a:rPr>
              <a:t>© 2016 Avanade Inc. All Rights Reserved.</a:t>
            </a:r>
          </a:p>
        </p:txBody>
      </p:sp>
      <p:sp>
        <p:nvSpPr>
          <p:cNvPr id="14" name="Slide Number Placeholder 2"/>
          <p:cNvSpPr txBox="1">
            <a:spLocks/>
          </p:cNvSpPr>
          <p:nvPr userDrawn="1"/>
        </p:nvSpPr>
        <p:spPr>
          <a:xfrm>
            <a:off x="11378143" y="6504260"/>
            <a:ext cx="406400" cy="199379"/>
          </a:xfrm>
          <a:prstGeom prst="rect">
            <a:avLst/>
          </a:prstGeom>
        </p:spPr>
        <p:txBody>
          <a:bodyPr lIns="0" tIns="0" rIns="0" bIns="0" anchor="b"/>
          <a:lstStyle>
            <a:defPPr>
              <a:defRPr lang="en-US"/>
            </a:defPPr>
            <a:lvl1pPr marL="0" algn="r" defTabSz="607720" rtl="0" eaLnBrk="1" latinLnBrk="0" hangingPunct="1">
              <a:defRPr sz="1050" kern="1200">
                <a:solidFill>
                  <a:schemeClr val="tx2"/>
                </a:solidFill>
                <a:latin typeface="+mn-lt"/>
                <a:ea typeface="+mn-ea"/>
                <a:cs typeface="+mn-cs"/>
              </a:defRPr>
            </a:lvl1pPr>
            <a:lvl2pPr marL="607720" algn="l" defTabSz="607720" rtl="0" eaLnBrk="1" latinLnBrk="0" hangingPunct="1">
              <a:defRPr sz="2400" kern="1200">
                <a:solidFill>
                  <a:schemeClr val="tx1"/>
                </a:solidFill>
                <a:latin typeface="+mn-lt"/>
                <a:ea typeface="+mn-ea"/>
                <a:cs typeface="+mn-cs"/>
              </a:defRPr>
            </a:lvl2pPr>
            <a:lvl3pPr marL="1215441" algn="l" defTabSz="607720" rtl="0" eaLnBrk="1" latinLnBrk="0" hangingPunct="1">
              <a:defRPr sz="2400" kern="1200">
                <a:solidFill>
                  <a:schemeClr val="tx1"/>
                </a:solidFill>
                <a:latin typeface="+mn-lt"/>
                <a:ea typeface="+mn-ea"/>
                <a:cs typeface="+mn-cs"/>
              </a:defRPr>
            </a:lvl3pPr>
            <a:lvl4pPr marL="1823161" algn="l" defTabSz="607720" rtl="0" eaLnBrk="1" latinLnBrk="0" hangingPunct="1">
              <a:defRPr sz="2400" kern="1200">
                <a:solidFill>
                  <a:schemeClr val="tx1"/>
                </a:solidFill>
                <a:latin typeface="+mn-lt"/>
                <a:ea typeface="+mn-ea"/>
                <a:cs typeface="+mn-cs"/>
              </a:defRPr>
            </a:lvl4pPr>
            <a:lvl5pPr marL="2430875" algn="l" defTabSz="607720" rtl="0" eaLnBrk="1" latinLnBrk="0" hangingPunct="1">
              <a:defRPr sz="2400" kern="1200">
                <a:solidFill>
                  <a:schemeClr val="tx1"/>
                </a:solidFill>
                <a:latin typeface="+mn-lt"/>
                <a:ea typeface="+mn-ea"/>
                <a:cs typeface="+mn-cs"/>
              </a:defRPr>
            </a:lvl5pPr>
            <a:lvl6pPr marL="3038583" algn="l" defTabSz="607720" rtl="0" eaLnBrk="1" latinLnBrk="0" hangingPunct="1">
              <a:defRPr sz="2400" kern="1200">
                <a:solidFill>
                  <a:schemeClr val="tx1"/>
                </a:solidFill>
                <a:latin typeface="+mn-lt"/>
                <a:ea typeface="+mn-ea"/>
                <a:cs typeface="+mn-cs"/>
              </a:defRPr>
            </a:lvl6pPr>
            <a:lvl7pPr marL="3646318" algn="l" defTabSz="607720" rtl="0" eaLnBrk="1" latinLnBrk="0" hangingPunct="1">
              <a:defRPr sz="2400" kern="1200">
                <a:solidFill>
                  <a:schemeClr val="tx1"/>
                </a:solidFill>
                <a:latin typeface="+mn-lt"/>
                <a:ea typeface="+mn-ea"/>
                <a:cs typeface="+mn-cs"/>
              </a:defRPr>
            </a:lvl7pPr>
            <a:lvl8pPr marL="4254022" algn="l" defTabSz="607720" rtl="0" eaLnBrk="1" latinLnBrk="0" hangingPunct="1">
              <a:defRPr sz="2400" kern="1200">
                <a:solidFill>
                  <a:schemeClr val="tx1"/>
                </a:solidFill>
                <a:latin typeface="+mn-lt"/>
                <a:ea typeface="+mn-ea"/>
                <a:cs typeface="+mn-cs"/>
              </a:defRPr>
            </a:lvl8pPr>
            <a:lvl9pPr marL="4861725" algn="l" defTabSz="607720" rtl="0" eaLnBrk="1" latinLnBrk="0" hangingPunct="1">
              <a:defRPr sz="2400" kern="1200">
                <a:solidFill>
                  <a:schemeClr val="tx1"/>
                </a:solidFill>
                <a:latin typeface="+mn-lt"/>
                <a:ea typeface="+mn-ea"/>
                <a:cs typeface="+mn-cs"/>
              </a:defRPr>
            </a:lvl9pPr>
          </a:lstStyle>
          <a:p>
            <a:pPr defTabSz="455541">
              <a:defRPr/>
            </a:pPr>
            <a:fld id="{5FF2E63E-D57D-4EFD-8380-089500058C9E}" type="slidenum">
              <a:rPr lang="en-US" sz="825" smtClean="0">
                <a:solidFill>
                  <a:srgbClr val="464646"/>
                </a:solidFill>
              </a:rPr>
              <a:pPr defTabSz="455541">
                <a:defRPr/>
              </a:pPr>
              <a:t>‹#›</a:t>
            </a:fld>
            <a:endParaRPr lang="en-US" sz="825" dirty="0">
              <a:solidFill>
                <a:srgbClr val="464646"/>
              </a:solidFill>
            </a:endParaRPr>
          </a:p>
        </p:txBody>
      </p:sp>
      <p:pic>
        <p:nvPicPr>
          <p:cNvPr id="7" name="Picture 6" descr="ava_tag_color_rgb.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354" y="6370211"/>
            <a:ext cx="1224320" cy="333427"/>
          </a:xfrm>
          <a:prstGeom prst="rect">
            <a:avLst/>
          </a:prstGeom>
        </p:spPr>
      </p:pic>
    </p:spTree>
    <p:extLst>
      <p:ext uri="{BB962C8B-B14F-4D97-AF65-F5344CB8AC3E}">
        <p14:creationId xmlns:p14="http://schemas.microsoft.com/office/powerpoint/2010/main" val="2154495751"/>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Lst>
  <p:hf hdr="0" ftr="0" dt="0"/>
  <p:txStyles>
    <p:titleStyle>
      <a:lvl1pPr algn="l" rtl="0" eaLnBrk="1" fontAlgn="base" hangingPunct="1">
        <a:lnSpc>
          <a:spcPct val="90000"/>
        </a:lnSpc>
        <a:spcBef>
          <a:spcPct val="0"/>
        </a:spcBef>
        <a:spcAft>
          <a:spcPct val="30000"/>
        </a:spcAft>
        <a:defRPr sz="2399">
          <a:solidFill>
            <a:srgbClr val="F86B16"/>
          </a:solidFill>
          <a:latin typeface="+mj-lt"/>
          <a:ea typeface="+mj-ea"/>
          <a:cs typeface="+mj-cs"/>
        </a:defRPr>
      </a:lvl1pPr>
      <a:lvl2pPr algn="l" rtl="0" eaLnBrk="1" fontAlgn="base" hangingPunct="1">
        <a:lnSpc>
          <a:spcPct val="90000"/>
        </a:lnSpc>
        <a:spcBef>
          <a:spcPct val="0"/>
        </a:spcBef>
        <a:spcAft>
          <a:spcPct val="30000"/>
        </a:spcAft>
        <a:defRPr sz="2399">
          <a:solidFill>
            <a:schemeClr val="tx2"/>
          </a:solidFill>
          <a:latin typeface="Arial" charset="0"/>
        </a:defRPr>
      </a:lvl2pPr>
      <a:lvl3pPr algn="l" rtl="0" eaLnBrk="1" fontAlgn="base" hangingPunct="1">
        <a:lnSpc>
          <a:spcPct val="90000"/>
        </a:lnSpc>
        <a:spcBef>
          <a:spcPct val="0"/>
        </a:spcBef>
        <a:spcAft>
          <a:spcPct val="30000"/>
        </a:spcAft>
        <a:defRPr sz="2399">
          <a:solidFill>
            <a:schemeClr val="tx2"/>
          </a:solidFill>
          <a:latin typeface="Arial" charset="0"/>
        </a:defRPr>
      </a:lvl3pPr>
      <a:lvl4pPr algn="l" rtl="0" eaLnBrk="1" fontAlgn="base" hangingPunct="1">
        <a:lnSpc>
          <a:spcPct val="90000"/>
        </a:lnSpc>
        <a:spcBef>
          <a:spcPct val="0"/>
        </a:spcBef>
        <a:spcAft>
          <a:spcPct val="30000"/>
        </a:spcAft>
        <a:defRPr sz="2399">
          <a:solidFill>
            <a:schemeClr val="tx2"/>
          </a:solidFill>
          <a:latin typeface="Arial" charset="0"/>
        </a:defRPr>
      </a:lvl4pPr>
      <a:lvl5pPr algn="l" rtl="0" eaLnBrk="1" fontAlgn="base" hangingPunct="1">
        <a:lnSpc>
          <a:spcPct val="90000"/>
        </a:lnSpc>
        <a:spcBef>
          <a:spcPct val="0"/>
        </a:spcBef>
        <a:spcAft>
          <a:spcPct val="30000"/>
        </a:spcAft>
        <a:defRPr sz="2399">
          <a:solidFill>
            <a:schemeClr val="tx2"/>
          </a:solidFill>
          <a:latin typeface="Arial" charset="0"/>
        </a:defRPr>
      </a:lvl5pPr>
      <a:lvl6pPr marL="342712" algn="l" rtl="0" eaLnBrk="1" fontAlgn="base" hangingPunct="1">
        <a:spcBef>
          <a:spcPct val="0"/>
        </a:spcBef>
        <a:spcAft>
          <a:spcPct val="0"/>
        </a:spcAft>
        <a:defRPr sz="2399" b="1">
          <a:solidFill>
            <a:schemeClr val="tx2"/>
          </a:solidFill>
          <a:latin typeface="Arial" charset="0"/>
        </a:defRPr>
      </a:lvl6pPr>
      <a:lvl7pPr marL="685424" algn="l" rtl="0" eaLnBrk="1" fontAlgn="base" hangingPunct="1">
        <a:spcBef>
          <a:spcPct val="0"/>
        </a:spcBef>
        <a:spcAft>
          <a:spcPct val="0"/>
        </a:spcAft>
        <a:defRPr sz="2399" b="1">
          <a:solidFill>
            <a:schemeClr val="tx2"/>
          </a:solidFill>
          <a:latin typeface="Arial" charset="0"/>
        </a:defRPr>
      </a:lvl7pPr>
      <a:lvl8pPr marL="1028137" algn="l" rtl="0" eaLnBrk="1" fontAlgn="base" hangingPunct="1">
        <a:spcBef>
          <a:spcPct val="0"/>
        </a:spcBef>
        <a:spcAft>
          <a:spcPct val="0"/>
        </a:spcAft>
        <a:defRPr sz="2399" b="1">
          <a:solidFill>
            <a:schemeClr val="tx2"/>
          </a:solidFill>
          <a:latin typeface="Arial" charset="0"/>
        </a:defRPr>
      </a:lvl8pPr>
      <a:lvl9pPr marL="1370849" algn="l" rtl="0" eaLnBrk="1" fontAlgn="base" hangingPunct="1">
        <a:spcBef>
          <a:spcPct val="0"/>
        </a:spcBef>
        <a:spcAft>
          <a:spcPct val="0"/>
        </a:spcAft>
        <a:defRPr sz="2399" b="1">
          <a:solidFill>
            <a:schemeClr val="tx2"/>
          </a:solidFill>
          <a:latin typeface="Arial" charset="0"/>
        </a:defRPr>
      </a:lvl9pPr>
    </p:titleStyle>
    <p:bodyStyle>
      <a:lvl1pPr marL="130898" indent="-130898" algn="l" rtl="0" eaLnBrk="1" fontAlgn="base" hangingPunct="1">
        <a:lnSpc>
          <a:spcPct val="90000"/>
        </a:lnSpc>
        <a:spcBef>
          <a:spcPct val="0"/>
        </a:spcBef>
        <a:spcAft>
          <a:spcPct val="30000"/>
        </a:spcAft>
        <a:buChar char="•"/>
        <a:defRPr sz="1200">
          <a:solidFill>
            <a:srgbClr val="646464"/>
          </a:solidFill>
          <a:latin typeface="+mn-lt"/>
          <a:ea typeface="+mn-ea"/>
          <a:cs typeface="+mn-cs"/>
        </a:defRPr>
      </a:lvl1pPr>
      <a:lvl2pPr marL="317723" indent="-154697" algn="l" rtl="0" eaLnBrk="1" fontAlgn="base" hangingPunct="1">
        <a:lnSpc>
          <a:spcPct val="90000"/>
        </a:lnSpc>
        <a:spcBef>
          <a:spcPct val="0"/>
        </a:spcBef>
        <a:spcAft>
          <a:spcPct val="30000"/>
        </a:spcAft>
        <a:buFont typeface="Arial" charset="0"/>
        <a:buChar char="–"/>
        <a:defRPr sz="1200">
          <a:solidFill>
            <a:srgbClr val="646464"/>
          </a:solidFill>
          <a:latin typeface="+mn-lt"/>
        </a:defRPr>
      </a:lvl2pPr>
      <a:lvl3pPr marL="489079" indent="-146367" algn="l" rtl="0" eaLnBrk="1" fontAlgn="base" hangingPunct="1">
        <a:lnSpc>
          <a:spcPct val="90000"/>
        </a:lnSpc>
        <a:spcBef>
          <a:spcPct val="0"/>
        </a:spcBef>
        <a:spcAft>
          <a:spcPct val="30000"/>
        </a:spcAft>
        <a:buFont typeface="Wingdings" pitchFamily="2" charset="2"/>
        <a:buChar char="§"/>
        <a:defRPr sz="1200">
          <a:solidFill>
            <a:srgbClr val="646464"/>
          </a:solidFill>
          <a:latin typeface="+mn-lt"/>
        </a:defRPr>
      </a:lvl3pPr>
      <a:lvl4pPr marL="660435" indent="-146367" algn="l" rtl="0" eaLnBrk="1" fontAlgn="base" hangingPunct="1">
        <a:lnSpc>
          <a:spcPct val="90000"/>
        </a:lnSpc>
        <a:spcBef>
          <a:spcPct val="0"/>
        </a:spcBef>
        <a:spcAft>
          <a:spcPct val="30000"/>
        </a:spcAft>
        <a:buFont typeface="Arial" charset="0"/>
        <a:buChar char="–"/>
        <a:defRPr sz="1200">
          <a:solidFill>
            <a:srgbClr val="646464"/>
          </a:solidFill>
          <a:latin typeface="+mn-lt"/>
        </a:defRPr>
      </a:lvl4pPr>
      <a:lvl5pPr marL="816322" indent="-130898" algn="l" rtl="0" eaLnBrk="1" fontAlgn="base" hangingPunct="1">
        <a:lnSpc>
          <a:spcPct val="90000"/>
        </a:lnSpc>
        <a:spcBef>
          <a:spcPct val="0"/>
        </a:spcBef>
        <a:spcAft>
          <a:spcPct val="30000"/>
        </a:spcAft>
        <a:buFont typeface="Arial"/>
        <a:buChar char="•"/>
        <a:defRPr sz="1200">
          <a:solidFill>
            <a:srgbClr val="646464"/>
          </a:solidFill>
          <a:latin typeface="+mn-lt"/>
        </a:defRPr>
      </a:lvl5pPr>
      <a:lvl6pPr marL="1159034"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6pPr>
      <a:lvl7pPr marL="1501747"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7pPr>
      <a:lvl8pPr marL="1844458"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8pPr>
      <a:lvl9pPr marL="2187171" indent="-130898" algn="l" rtl="0" eaLnBrk="1" fontAlgn="base" hangingPunct="1">
        <a:lnSpc>
          <a:spcPct val="90000"/>
        </a:lnSpc>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685424" rtl="0" eaLnBrk="1" latinLnBrk="0" hangingPunct="1">
        <a:defRPr sz="1350" kern="1200">
          <a:solidFill>
            <a:schemeClr val="tx1"/>
          </a:solidFill>
          <a:latin typeface="+mn-lt"/>
          <a:ea typeface="+mn-ea"/>
          <a:cs typeface="+mn-cs"/>
        </a:defRPr>
      </a:lvl1pPr>
      <a:lvl2pPr marL="342712" algn="l" defTabSz="685424" rtl="0" eaLnBrk="1" latinLnBrk="0" hangingPunct="1">
        <a:defRPr sz="1350" kern="1200">
          <a:solidFill>
            <a:schemeClr val="tx1"/>
          </a:solidFill>
          <a:latin typeface="+mn-lt"/>
          <a:ea typeface="+mn-ea"/>
          <a:cs typeface="+mn-cs"/>
        </a:defRPr>
      </a:lvl2pPr>
      <a:lvl3pPr marL="685424" algn="l" defTabSz="685424" rtl="0" eaLnBrk="1" latinLnBrk="0" hangingPunct="1">
        <a:defRPr sz="1350" kern="1200">
          <a:solidFill>
            <a:schemeClr val="tx1"/>
          </a:solidFill>
          <a:latin typeface="+mn-lt"/>
          <a:ea typeface="+mn-ea"/>
          <a:cs typeface="+mn-cs"/>
        </a:defRPr>
      </a:lvl3pPr>
      <a:lvl4pPr marL="1028137" algn="l" defTabSz="685424" rtl="0" eaLnBrk="1" latinLnBrk="0" hangingPunct="1">
        <a:defRPr sz="1350" kern="1200">
          <a:solidFill>
            <a:schemeClr val="tx1"/>
          </a:solidFill>
          <a:latin typeface="+mn-lt"/>
          <a:ea typeface="+mn-ea"/>
          <a:cs typeface="+mn-cs"/>
        </a:defRPr>
      </a:lvl4pPr>
      <a:lvl5pPr marL="1370849" algn="l" defTabSz="685424" rtl="0" eaLnBrk="1" latinLnBrk="0" hangingPunct="1">
        <a:defRPr sz="1350" kern="1200">
          <a:solidFill>
            <a:schemeClr val="tx1"/>
          </a:solidFill>
          <a:latin typeface="+mn-lt"/>
          <a:ea typeface="+mn-ea"/>
          <a:cs typeface="+mn-cs"/>
        </a:defRPr>
      </a:lvl5pPr>
      <a:lvl6pPr marL="1713562" algn="l" defTabSz="685424" rtl="0" eaLnBrk="1" latinLnBrk="0" hangingPunct="1">
        <a:defRPr sz="1350" kern="1200">
          <a:solidFill>
            <a:schemeClr val="tx1"/>
          </a:solidFill>
          <a:latin typeface="+mn-lt"/>
          <a:ea typeface="+mn-ea"/>
          <a:cs typeface="+mn-cs"/>
        </a:defRPr>
      </a:lvl6pPr>
      <a:lvl7pPr marL="2056274" algn="l" defTabSz="685424" rtl="0" eaLnBrk="1" latinLnBrk="0" hangingPunct="1">
        <a:defRPr sz="1350" kern="1200">
          <a:solidFill>
            <a:schemeClr val="tx1"/>
          </a:solidFill>
          <a:latin typeface="+mn-lt"/>
          <a:ea typeface="+mn-ea"/>
          <a:cs typeface="+mn-cs"/>
        </a:defRPr>
      </a:lvl7pPr>
      <a:lvl8pPr marL="2398986" algn="l" defTabSz="685424" rtl="0" eaLnBrk="1" latinLnBrk="0" hangingPunct="1">
        <a:defRPr sz="1350" kern="1200">
          <a:solidFill>
            <a:schemeClr val="tx1"/>
          </a:solidFill>
          <a:latin typeface="+mn-lt"/>
          <a:ea typeface="+mn-ea"/>
          <a:cs typeface="+mn-cs"/>
        </a:defRPr>
      </a:lvl8pPr>
      <a:lvl9pPr marL="2741699" algn="l" defTabSz="685424"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7"/>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06872"/>
      </p:ext>
    </p:extLst>
  </p:cSld>
  <p:clrMap bg1="lt1" tx1="dk1" bg2="lt2" tx2="dk2" accent1="accent1" accent2="accent2" accent3="accent3" accent4="accent4" accent5="accent5" accent6="accent6" hlink="hlink" folHlink="folHlink"/>
  <p:sldLayoutIdLst>
    <p:sldLayoutId id="2147483664" r:id="rId1"/>
    <p:sldLayoutId id="2147483686" r:id="rId2"/>
    <p:sldLayoutId id="2147483687" r:id="rId3"/>
    <p:sldLayoutId id="2147483688" r:id="rId4"/>
    <p:sldLayoutId id="2147483772"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228600" indent="-228600" algn="l" defTabSz="914400" rtl="0" eaLnBrk="1" latinLnBrk="0" hangingPunct="1">
        <a:lnSpc>
          <a:spcPct val="90000"/>
        </a:lnSpc>
        <a:spcBef>
          <a:spcPts val="1000"/>
        </a:spcBef>
        <a:buFont typeface="Arial"/>
        <a:buChar char="•"/>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vanadeLogoNoTM_AWColor_RG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
        <p:nvSpPr>
          <p:cNvPr id="9" name="TextBox 8"/>
          <p:cNvSpPr txBox="1"/>
          <p:nvPr/>
        </p:nvSpPr>
        <p:spPr>
          <a:xfrm>
            <a:off x="8514496" y="6274700"/>
            <a:ext cx="2777072" cy="200055"/>
          </a:xfrm>
          <a:prstGeom prst="rect">
            <a:avLst/>
          </a:prstGeom>
          <a:noFill/>
        </p:spPr>
        <p:txBody>
          <a:bodyPr wrap="square" rtlCol="0">
            <a:spAutoFit/>
          </a:bodyPr>
          <a:lstStyle/>
          <a:p>
            <a:pPr algn="r"/>
            <a:r>
              <a:rPr lang="en-US" sz="700" dirty="0">
                <a:solidFill>
                  <a:srgbClr val="FF5800"/>
                </a:solidFill>
              </a:rPr>
              <a:t>&lt;Highly Confidential&gt; </a:t>
            </a:r>
            <a:r>
              <a:rPr lang="en-US" sz="700" dirty="0">
                <a:solidFill>
                  <a:srgbClr val="464646"/>
                </a:solidFill>
              </a:rPr>
              <a:t>See Avanade’s </a:t>
            </a:r>
            <a:r>
              <a:rPr lang="en-US" sz="700" dirty="0">
                <a:solidFill>
                  <a:srgbClr val="FF5800"/>
                </a:solidFill>
                <a:hlinkClick r:id="rId14"/>
              </a:rPr>
              <a:t>Data Management Policy</a:t>
            </a:r>
            <a:endParaRPr lang="en-US" sz="700" dirty="0">
              <a:solidFill>
                <a:srgbClr val="FF5800"/>
              </a:solidFill>
            </a:endParaRPr>
          </a:p>
        </p:txBody>
      </p:sp>
    </p:spTree>
    <p:extLst>
      <p:ext uri="{BB962C8B-B14F-4D97-AF65-F5344CB8AC3E}">
        <p14:creationId xmlns:p14="http://schemas.microsoft.com/office/powerpoint/2010/main" val="166127852"/>
      </p:ext>
    </p:extLst>
  </p:cSld>
  <p:clrMap bg1="lt1" tx1="dk1" bg2="lt2" tx2="dk2" accent1="accent1" accent2="accent2" accent3="accent3" accent4="accent4" accent5="accent5" accent6="accent6" hlink="hlink" folHlink="folHlink"/>
  <p:sldLayoutIdLst>
    <p:sldLayoutId id="2147483666" r:id="rId1"/>
    <p:sldLayoutId id="2147483690" r:id="rId2"/>
    <p:sldLayoutId id="2147483667" r:id="rId3"/>
    <p:sldLayoutId id="2147483668" r:id="rId4"/>
    <p:sldLayoutId id="2147483669" r:id="rId5"/>
    <p:sldLayoutId id="2147483670" r:id="rId6"/>
    <p:sldLayoutId id="2147483671" r:id="rId7"/>
    <p:sldLayoutId id="2147483672" r:id="rId8"/>
    <p:sldLayoutId id="2147483692" r:id="rId9"/>
    <p:sldLayoutId id="2147483693" r:id="rId10"/>
    <p:sldLayoutId id="2147483770" r:id="rId11"/>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8876480" y="6272968"/>
            <a:ext cx="2415909" cy="200055"/>
          </a:xfrm>
          <a:prstGeom prst="rect">
            <a:avLst/>
          </a:prstGeom>
          <a:noFill/>
        </p:spPr>
        <p:txBody>
          <a:bodyPr wrap="square" rtlCol="0">
            <a:spAutoFit/>
          </a:bodyPr>
          <a:lstStyle/>
          <a:p>
            <a:pPr algn="r"/>
            <a:r>
              <a:rPr lang="en-US" sz="700" dirty="0">
                <a:solidFill>
                  <a:srgbClr val="FF5800"/>
                </a:solidFill>
              </a:rPr>
              <a:t>&lt;Confidential&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70580046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8875659" y="6272986"/>
            <a:ext cx="2415909" cy="200055"/>
          </a:xfrm>
          <a:prstGeom prst="rect">
            <a:avLst/>
          </a:prstGeom>
          <a:noFill/>
        </p:spPr>
        <p:txBody>
          <a:bodyPr wrap="square" rtlCol="0">
            <a:spAutoFit/>
          </a:bodyPr>
          <a:lstStyle/>
          <a:p>
            <a:pPr algn="r"/>
            <a:r>
              <a:rPr lang="en-US" sz="700" dirty="0">
                <a:solidFill>
                  <a:srgbClr val="FF5800"/>
                </a:solidFill>
              </a:rPr>
              <a:t>&lt;Restricted&gt; </a:t>
            </a:r>
            <a:r>
              <a:rPr lang="en-US" sz="700" dirty="0">
                <a:solidFill>
                  <a:srgbClr val="464646"/>
                </a:solidFill>
              </a:rPr>
              <a:t>See Avanade’s </a:t>
            </a:r>
            <a:r>
              <a:rPr lang="en-US" sz="700" dirty="0">
                <a:solidFill>
                  <a:srgbClr val="FF5800"/>
                </a:solidFill>
                <a:hlinkClick r:id="rId7"/>
              </a:rPr>
              <a:t>Data Management Policy</a:t>
            </a:r>
            <a:endParaRPr lang="en-US" sz="700" dirty="0">
              <a:solidFill>
                <a:srgbClr val="FF5800"/>
              </a:solidFill>
            </a:endParaRPr>
          </a:p>
        </p:txBody>
      </p:sp>
      <p:sp>
        <p:nvSpPr>
          <p:cNvPr id="2" name="Title Placeholder 1"/>
          <p:cNvSpPr>
            <a:spLocks noGrp="1"/>
          </p:cNvSpPr>
          <p:nvPr>
            <p:ph type="title"/>
          </p:nvPr>
        </p:nvSpPr>
        <p:spPr>
          <a:xfrm>
            <a:off x="960792" y="390719"/>
            <a:ext cx="10270415" cy="998344"/>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896600" y="6584960"/>
            <a:ext cx="457200" cy="266806"/>
          </a:xfrm>
          <a:prstGeom prst="rect">
            <a:avLst/>
          </a:prstGeom>
        </p:spPr>
        <p:txBody>
          <a:bodyPr vert="horz" lIns="91440" tIns="45720" rIns="91440" bIns="45720" rtlCol="0" anchor="ctr"/>
          <a:lstStyle>
            <a:lvl1pPr algn="r">
              <a:defRPr sz="1050" b="0" i="0">
                <a:solidFill>
                  <a:schemeClr val="tx1">
                    <a:tint val="75000"/>
                  </a:schemeClr>
                </a:solidFill>
                <a:latin typeface="Segoe UI Light" charset="0"/>
                <a:ea typeface="Segoe UI Light" charset="0"/>
                <a:cs typeface="Segoe UI Light" charset="0"/>
              </a:defRPr>
            </a:lvl1pPr>
          </a:lstStyle>
          <a:p>
            <a:fld id="{3847DB54-D037-B84F-B6F1-2E8DA40D09AD}" type="slidenum">
              <a:rPr lang="en-US" smtClean="0"/>
              <a:pPr/>
              <a:t>‹#›</a:t>
            </a:fld>
            <a:endParaRPr lang="en-US"/>
          </a:p>
        </p:txBody>
      </p:sp>
      <p:sp>
        <p:nvSpPr>
          <p:cNvPr id="5" name="Rectangle 4"/>
          <p:cNvSpPr/>
          <p:nvPr/>
        </p:nvSpPr>
        <p:spPr>
          <a:xfrm>
            <a:off x="960793" y="0"/>
            <a:ext cx="10270414" cy="203287"/>
          </a:xfrm>
          <a:prstGeom prst="rect">
            <a:avLst/>
          </a:prstGeom>
          <a:gradFill>
            <a:gsLst>
              <a:gs pos="80000">
                <a:srgbClr val="FF5800"/>
              </a:gs>
              <a:gs pos="0">
                <a:srgbClr val="890078"/>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vanadeLogoNoTM_AWColor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639" y="6069204"/>
            <a:ext cx="1494933" cy="548639"/>
          </a:xfrm>
          <a:prstGeom prst="rect">
            <a:avLst/>
          </a:prstGeom>
        </p:spPr>
      </p:pic>
      <p:sp>
        <p:nvSpPr>
          <p:cNvPr id="11" name="Rectangle 5"/>
          <p:cNvSpPr txBox="1">
            <a:spLocks noChangeArrowheads="1"/>
          </p:cNvSpPr>
          <p:nvPr/>
        </p:nvSpPr>
        <p:spPr bwMode="auto">
          <a:xfrm>
            <a:off x="4665161" y="6260973"/>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dirty="0">
                <a:solidFill>
                  <a:schemeClr val="bg1">
                    <a:lumMod val="75000"/>
                  </a:schemeClr>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253275650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ransition>
    <p:fade/>
  </p:transition>
  <p:hf hdr="0" ftr="0" dt="0"/>
  <p:txStyles>
    <p:titleStyle>
      <a:lvl1pPr algn="l" defTabSz="914400" rtl="0" eaLnBrk="1" latinLnBrk="0" hangingPunct="1">
        <a:lnSpc>
          <a:spcPct val="90000"/>
        </a:lnSpc>
        <a:spcBef>
          <a:spcPct val="0"/>
        </a:spcBef>
        <a:buNone/>
        <a:defRPr sz="3600" b="0" i="0" kern="1200">
          <a:solidFill>
            <a:schemeClr val="tx1"/>
          </a:solidFill>
          <a:latin typeface="Segoe UI Light" charset="0"/>
          <a:ea typeface="Segoe UI Light" charset="0"/>
          <a:cs typeface="Segoe UI Light"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73191939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031" name="think-cell Slide" r:id="rId17" imgW="425" imgH="426" progId="TCLayout.ActiveDocument.1">
                  <p:embed/>
                </p:oleObj>
              </mc:Choice>
              <mc:Fallback>
                <p:oleObj name="think-cell Slide" r:id="rId17" imgW="425" imgH="426" progId="TCLayout.ActiveDocument.1">
                  <p:embed/>
                  <p:pic>
                    <p:nvPicPr>
                      <p:cNvPr id="6" name="Objekt 5" hidden="1"/>
                      <p:cNvPicPr/>
                      <p:nvPr/>
                    </p:nvPicPr>
                    <p:blipFill>
                      <a:blip r:embed="rId18"/>
                      <a:stretch>
                        <a:fillRect/>
                      </a:stretch>
                    </p:blipFill>
                    <p:spPr>
                      <a:xfrm>
                        <a:off x="1589" y="1590"/>
                        <a:ext cx="1588" cy="1587"/>
                      </a:xfrm>
                      <a:prstGeom prst="rect">
                        <a:avLst/>
                      </a:prstGeom>
                    </p:spPr>
                  </p:pic>
                </p:oleObj>
              </mc:Fallback>
            </mc:AlternateContent>
          </a:graphicData>
        </a:graphic>
      </p:graphicFrame>
      <p:sp>
        <p:nvSpPr>
          <p:cNvPr id="3" name="Text Placeholder 2"/>
          <p:cNvSpPr>
            <a:spLocks noGrp="1"/>
          </p:cNvSpPr>
          <p:nvPr>
            <p:ph type="body" idx="1"/>
          </p:nvPr>
        </p:nvSpPr>
        <p:spPr>
          <a:xfrm>
            <a:off x="625468" y="1182102"/>
            <a:ext cx="10941073" cy="5254783"/>
          </a:xfrm>
          <a:prstGeom prst="rect">
            <a:avLst/>
          </a:prstGeom>
        </p:spPr>
        <p:txBody>
          <a:bodyPr vert="horz" lIns="0" tIns="60937" rIns="0" bIns="60937"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Placeholder 1"/>
          <p:cNvSpPr>
            <a:spLocks noGrp="1"/>
          </p:cNvSpPr>
          <p:nvPr>
            <p:ph type="title"/>
          </p:nvPr>
        </p:nvSpPr>
        <p:spPr>
          <a:xfrm>
            <a:off x="625468" y="7"/>
            <a:ext cx="10941073" cy="1095121"/>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10888492" y="6537399"/>
            <a:ext cx="677794" cy="161888"/>
          </a:xfrm>
          <a:prstGeom prst="rect">
            <a:avLst/>
          </a:prstGeom>
        </p:spPr>
        <p:txBody>
          <a:bodyPr vert="horz" wrap="square" lIns="121875" tIns="60937" rIns="0" bIns="60937" numCol="1" anchor="ctr" anchorCtr="0" compatLnSpc="1">
            <a:prstTxWarp prst="textNoShape">
              <a:avLst/>
            </a:prstTxWarp>
            <a:noAutofit/>
          </a:bodyPr>
          <a:lstStyle>
            <a:lvl1pPr algn="r">
              <a:defRPr sz="1000">
                <a:solidFill>
                  <a:schemeClr val="tx2"/>
                </a:solidFill>
              </a:defRPr>
            </a:lvl1pPr>
          </a:lstStyle>
          <a:p>
            <a:pPr defTabSz="914217">
              <a:defRPr/>
            </a:pPr>
            <a:fld id="{90CBDC3A-D49F-4631-A8C7-55D59B33E5FA}" type="slidenum">
              <a:rPr lang="en-US" smtClean="0">
                <a:solidFill>
                  <a:srgbClr val="666666"/>
                </a:solidFill>
                <a:ea typeface="Segoe UI Symbol"/>
                <a:sym typeface="Segoe UI Symbol"/>
              </a:rPr>
              <a:pPr defTabSz="914217">
                <a:defRPr/>
              </a:pPr>
              <a:t>‹#›</a:t>
            </a:fld>
            <a:endParaRPr lang="en-US" dirty="0">
              <a:solidFill>
                <a:srgbClr val="666666"/>
              </a:solidFill>
              <a:ea typeface="Segoe UI Symbol"/>
              <a:sym typeface="Segoe UI Symbol"/>
            </a:endParaRPr>
          </a:p>
        </p:txBody>
      </p:sp>
      <p:sp>
        <p:nvSpPr>
          <p:cNvPr id="4" name="Footer Placeholder 3"/>
          <p:cNvSpPr>
            <a:spLocks noGrp="1"/>
          </p:cNvSpPr>
          <p:nvPr>
            <p:ph type="ftr" sz="quarter" idx="3"/>
          </p:nvPr>
        </p:nvSpPr>
        <p:spPr>
          <a:xfrm flipH="1">
            <a:off x="625468" y="6537399"/>
            <a:ext cx="5366096" cy="161888"/>
          </a:xfrm>
          <a:prstGeom prst="rect">
            <a:avLst/>
          </a:prstGeom>
          <a:noFill/>
        </p:spPr>
        <p:txBody>
          <a:bodyPr wrap="square" lIns="0" tIns="60937" rIns="121875" bIns="60937" anchor="ctr" anchorCtr="0">
            <a:noAutofit/>
          </a:bodyPr>
          <a:lstStyle>
            <a:lvl1pPr>
              <a:defRPr lang="en-AU" sz="1000">
                <a:solidFill>
                  <a:schemeClr val="tx2"/>
                </a:solidFill>
              </a:defRPr>
            </a:lvl1pPr>
          </a:lstStyle>
          <a:p>
            <a:pPr defTabSz="914217"/>
            <a:endParaRPr lang="en-US" dirty="0">
              <a:solidFill>
                <a:srgbClr val="666666"/>
              </a:solidFill>
              <a:ea typeface="Segoe UI Symbol"/>
              <a:sym typeface="Segoe UI Symbol"/>
            </a:endParaRPr>
          </a:p>
        </p:txBody>
      </p:sp>
    </p:spTree>
    <p:extLst>
      <p:ext uri="{BB962C8B-B14F-4D97-AF65-F5344CB8AC3E}">
        <p14:creationId xmlns:p14="http://schemas.microsoft.com/office/powerpoint/2010/main" val="22842330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4"/>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24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49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74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6998"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182489" indent="-182489"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449083" indent="-266594"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625225" indent="-176143" algn="l" rtl="0" eaLnBrk="1" fontAlgn="base" hangingPunct="1">
        <a:spcBef>
          <a:spcPts val="800"/>
        </a:spcBef>
        <a:spcAft>
          <a:spcPct val="0"/>
        </a:spcAft>
        <a:buFont typeface="Arial" pitchFamily="34" charset="0"/>
        <a:buChar char="•"/>
        <a:tabLst/>
        <a:defRPr sz="1600" kern="1200">
          <a:solidFill>
            <a:schemeClr val="tx2"/>
          </a:solidFill>
          <a:latin typeface="+mn-lt"/>
          <a:ea typeface="Arial" pitchFamily="-105" charset="-52"/>
          <a:cs typeface="Arial" pitchFamily="34" charset="0"/>
        </a:defRPr>
      </a:lvl3pPr>
      <a:lvl4pPr marL="898165" indent="-272940"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1074308" indent="-176143" algn="l" rtl="0" eaLnBrk="1" fontAlgn="base" hangingPunct="1">
        <a:spcBef>
          <a:spcPts val="8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335087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123"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372"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8621" indent="-304625" algn="l" defTabSz="1218499"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499" rtl="0" eaLnBrk="1" latinLnBrk="0" hangingPunct="1">
        <a:defRPr sz="2400" kern="1200">
          <a:solidFill>
            <a:schemeClr val="tx1"/>
          </a:solidFill>
          <a:latin typeface="+mn-lt"/>
          <a:ea typeface="+mn-ea"/>
          <a:cs typeface="+mn-cs"/>
        </a:defRPr>
      </a:lvl1pPr>
      <a:lvl2pPr marL="609249" algn="l" defTabSz="1218499" rtl="0" eaLnBrk="1" latinLnBrk="0" hangingPunct="1">
        <a:defRPr sz="2400" kern="1200">
          <a:solidFill>
            <a:schemeClr val="tx1"/>
          </a:solidFill>
          <a:latin typeface="+mn-lt"/>
          <a:ea typeface="+mn-ea"/>
          <a:cs typeface="+mn-cs"/>
        </a:defRPr>
      </a:lvl2pPr>
      <a:lvl3pPr marL="1218499" algn="l" defTabSz="1218499" rtl="0" eaLnBrk="1" latinLnBrk="0" hangingPunct="1">
        <a:defRPr sz="2400" kern="1200">
          <a:solidFill>
            <a:schemeClr val="tx1"/>
          </a:solidFill>
          <a:latin typeface="+mn-lt"/>
          <a:ea typeface="+mn-ea"/>
          <a:cs typeface="+mn-cs"/>
        </a:defRPr>
      </a:lvl3pPr>
      <a:lvl4pPr marL="1827748" algn="l" defTabSz="1218499" rtl="0" eaLnBrk="1" latinLnBrk="0" hangingPunct="1">
        <a:defRPr sz="2400" kern="1200">
          <a:solidFill>
            <a:schemeClr val="tx1"/>
          </a:solidFill>
          <a:latin typeface="+mn-lt"/>
          <a:ea typeface="+mn-ea"/>
          <a:cs typeface="+mn-cs"/>
        </a:defRPr>
      </a:lvl4pPr>
      <a:lvl5pPr marL="2436998" algn="l" defTabSz="1218499" rtl="0" eaLnBrk="1" latinLnBrk="0" hangingPunct="1">
        <a:defRPr sz="2400" kern="1200">
          <a:solidFill>
            <a:schemeClr val="tx1"/>
          </a:solidFill>
          <a:latin typeface="+mn-lt"/>
          <a:ea typeface="+mn-ea"/>
          <a:cs typeface="+mn-cs"/>
        </a:defRPr>
      </a:lvl5pPr>
      <a:lvl6pPr marL="3046249" algn="l" defTabSz="1218499" rtl="0" eaLnBrk="1" latinLnBrk="0" hangingPunct="1">
        <a:defRPr sz="2400" kern="1200">
          <a:solidFill>
            <a:schemeClr val="tx1"/>
          </a:solidFill>
          <a:latin typeface="+mn-lt"/>
          <a:ea typeface="+mn-ea"/>
          <a:cs typeface="+mn-cs"/>
        </a:defRPr>
      </a:lvl6pPr>
      <a:lvl7pPr marL="3655498" algn="l" defTabSz="1218499" rtl="0" eaLnBrk="1" latinLnBrk="0" hangingPunct="1">
        <a:defRPr sz="2400" kern="1200">
          <a:solidFill>
            <a:schemeClr val="tx1"/>
          </a:solidFill>
          <a:latin typeface="+mn-lt"/>
          <a:ea typeface="+mn-ea"/>
          <a:cs typeface="+mn-cs"/>
        </a:defRPr>
      </a:lvl7pPr>
      <a:lvl8pPr marL="4264747" algn="l" defTabSz="1218499" rtl="0" eaLnBrk="1" latinLnBrk="0" hangingPunct="1">
        <a:defRPr sz="2400" kern="1200">
          <a:solidFill>
            <a:schemeClr val="tx1"/>
          </a:solidFill>
          <a:latin typeface="+mn-lt"/>
          <a:ea typeface="+mn-ea"/>
          <a:cs typeface="+mn-cs"/>
        </a:defRPr>
      </a:lvl8pPr>
      <a:lvl9pPr marL="4873997" algn="l" defTabSz="121849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F26B43"/>
          </p15:clr>
        </p15:guide>
        <p15:guide id="2" pos="3951">
          <p15:clr>
            <a:srgbClr val="F26B43"/>
          </p15:clr>
        </p15:guide>
        <p15:guide id="3" pos="3725">
          <p15:clr>
            <a:srgbClr val="F26B43"/>
          </p15:clr>
        </p15:guide>
        <p15:guide id="4" pos="391">
          <p15:clr>
            <a:srgbClr val="F26B43"/>
          </p15:clr>
        </p15:guide>
        <p15:guide id="5" pos="7285">
          <p15:clr>
            <a:srgbClr val="F26B43"/>
          </p15:clr>
        </p15:guide>
        <p15:guide id="6" orient="horz" pos="640">
          <p15:clr>
            <a:srgbClr val="F26B43"/>
          </p15:clr>
        </p15:guide>
        <p15:guide id="7" orient="horz" pos="799">
          <p15:clr>
            <a:srgbClr val="F26B43"/>
          </p15:clr>
        </p15:guide>
        <p15:guide id="8" orient="horz" pos="4042">
          <p15:clr>
            <a:srgbClr val="F26B43"/>
          </p15:clr>
        </p15:guide>
        <p15:guide id="9" orient="horz" pos="102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42736085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1" r:id="rId3"/>
    <p:sldLayoutId id="2147483722" r:id="rId4"/>
    <p:sldLayoutId id="2147483723" r:id="rId5"/>
    <p:sldLayoutId id="2147483724"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81853" y="6356351"/>
            <a:ext cx="2742326" cy="340372"/>
          </a:xfrm>
          <a:prstGeom prst="rect">
            <a:avLst/>
          </a:prstGeom>
        </p:spPr>
        <p:txBody>
          <a:bodyPr vert="horz" lIns="0" tIns="0" rIns="0" bIns="0" rtlCol="0" anchor="b"/>
          <a:lstStyle>
            <a:lvl1pPr algn="r">
              <a:defRPr sz="1050">
                <a:solidFill>
                  <a:schemeClr val="bg2">
                    <a:lumMod val="25000"/>
                  </a:schemeClr>
                </a:solidFill>
                <a:latin typeface="Segoe UI" panose="020B0502040204020203" pitchFamily="34" charset="0"/>
                <a:cs typeface="Segoe UI" panose="020B0502040204020203" pitchFamily="34" charset="0"/>
              </a:defRPr>
            </a:lvl1pPr>
          </a:lstStyle>
          <a:p>
            <a:pPr defTabSz="607673"/>
            <a:fld id="{D23C339E-6384-4B7D-8AAA-399CE7159230}" type="slidenum">
              <a:rPr lang="en-US" smtClean="0">
                <a:solidFill>
                  <a:srgbClr val="BCBDBC">
                    <a:lumMod val="25000"/>
                  </a:srgbClr>
                </a:solidFill>
              </a:rPr>
              <a:pPr defTabSz="607673"/>
              <a:t>‹#›</a:t>
            </a:fld>
            <a:endParaRPr lang="en-US">
              <a:solidFill>
                <a:srgbClr val="BCBDBC">
                  <a:lumMod val="25000"/>
                </a:srgbClr>
              </a:solidFill>
            </a:endParaRPr>
          </a:p>
        </p:txBody>
      </p:sp>
      <p:sp>
        <p:nvSpPr>
          <p:cNvPr id="7" name="Rectangle 6"/>
          <p:cNvSpPr/>
          <p:nvPr/>
        </p:nvSpPr>
        <p:spPr>
          <a:xfrm>
            <a:off x="1" y="0"/>
            <a:ext cx="12192000" cy="1016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7673"/>
            <a:endParaRPr lang="en-US" sz="2400" dirty="0">
              <a:solidFill>
                <a:srgbClr val="FFC000"/>
              </a:solidFill>
            </a:endParaRPr>
          </a:p>
        </p:txBody>
      </p:sp>
      <p:pic>
        <p:nvPicPr>
          <p:cNvPr id="14" name="Picture 1"/>
          <p:cNvPicPr>
            <a:picLocks noChangeAspect="1" noChangeArrowheads="1"/>
          </p:cNvPicPr>
          <p:nvPr/>
        </p:nvPicPr>
        <p:blipFill rotWithShape="1">
          <a:blip r:embed="rId27">
            <a:extLst>
              <a:ext uri="{28A0092B-C50C-407E-A947-70E740481C1C}">
                <a14:useLocalDpi xmlns:a14="http://schemas.microsoft.com/office/drawing/2010/main" val="0"/>
              </a:ext>
            </a:extLst>
          </a:blip>
          <a:srcRect/>
          <a:stretch/>
        </p:blipFill>
        <p:spPr bwMode="auto">
          <a:xfrm>
            <a:off x="10750522" y="84407"/>
            <a:ext cx="1472162" cy="81261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5"/>
          <p:cNvSpPr txBox="1">
            <a:spLocks noChangeArrowheads="1"/>
          </p:cNvSpPr>
          <p:nvPr/>
        </p:nvSpPr>
        <p:spPr bwMode="auto">
          <a:xfrm>
            <a:off x="4852502" y="6531624"/>
            <a:ext cx="2486994" cy="165099"/>
          </a:xfrm>
          <a:prstGeom prst="rect">
            <a:avLst/>
          </a:prstGeom>
          <a:noFill/>
          <a:ln w="9525">
            <a:noFill/>
            <a:miter lim="800000"/>
            <a:headEnd/>
            <a:tailEnd/>
          </a:ln>
          <a:effectLst/>
        </p:spPr>
        <p:txBody>
          <a:bodyPr lIns="0" tIns="0" rIns="0" bIns="0" anchor="b"/>
          <a:lstStyle/>
          <a:p>
            <a:pPr algn="ctr" defTabSz="607673">
              <a:lnSpc>
                <a:spcPct val="90000"/>
              </a:lnSpc>
              <a:spcAft>
                <a:spcPct val="30000"/>
              </a:spcAft>
            </a:pPr>
            <a:r>
              <a:rPr lang="en-US" sz="600" dirty="0">
                <a:solidFill>
                  <a:srgbClr val="BCBDBC">
                    <a:lumMod val="25000"/>
                  </a:srgbClr>
                </a:solidFill>
                <a:latin typeface="Segoe UI" panose="020B0502040204020203" pitchFamily="34" charset="0"/>
                <a:cs typeface="Segoe UI" panose="020B0502040204020203" pitchFamily="34" charset="0"/>
              </a:rPr>
              <a:t>©2016 Avanade Inc. All Rights Reserved.</a:t>
            </a:r>
          </a:p>
        </p:txBody>
      </p:sp>
      <p:sp>
        <p:nvSpPr>
          <p:cNvPr id="8" name="Title Placeholder 7"/>
          <p:cNvSpPr>
            <a:spLocks noGrp="1"/>
          </p:cNvSpPr>
          <p:nvPr>
            <p:ph type="title"/>
          </p:nvPr>
        </p:nvSpPr>
        <p:spPr>
          <a:xfrm>
            <a:off x="455732" y="274638"/>
            <a:ext cx="11126510" cy="639762"/>
          </a:xfrm>
          <a:prstGeom prst="rect">
            <a:avLst/>
          </a:prstGeom>
        </p:spPr>
        <p:txBody>
          <a:bodyPr vert="horz" lIns="0" tIns="45720" rIns="91440" bIns="45720" rtlCol="0" anchor="ctr">
            <a:normAutofit/>
          </a:bodyPr>
          <a:lstStyle/>
          <a:p>
            <a:r>
              <a:rPr lang="en-US" dirty="0"/>
              <a:t>Click to edit Master title style</a:t>
            </a:r>
            <a:endParaRPr lang="en-AU" dirty="0"/>
          </a:p>
        </p:txBody>
      </p:sp>
    </p:spTree>
    <p:extLst>
      <p:ext uri="{BB962C8B-B14F-4D97-AF65-F5344CB8AC3E}">
        <p14:creationId xmlns:p14="http://schemas.microsoft.com/office/powerpoint/2010/main" val="187800608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lang="en-AU" sz="2800" kern="1200" dirty="0">
          <a:solidFill>
            <a:srgbClr val="FF58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65.png"/><Relationship Id="rId4" Type="http://schemas.openxmlformats.org/officeDocument/2006/relationships/image" Target="../media/image72.png"/></Relationships>
</file>

<file path=ppt/slides/_rels/slide1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5.emf"/><Relationship Id="rId2" Type="http://schemas.openxmlformats.org/officeDocument/2006/relationships/slideLayout" Target="../slideLayouts/slideLayout7.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image" Target="../media/image74.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59.png"/><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85.png"/><Relationship Id="rId4" Type="http://schemas.openxmlformats.org/officeDocument/2006/relationships/image" Target="../media/image84.png"/></Relationships>
</file>

<file path=ppt/slides/_rels/slide3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88.jp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97.jpeg"/><Relationship Id="rId5" Type="http://schemas.openxmlformats.org/officeDocument/2006/relationships/image" Target="../media/image96.jpeg"/><Relationship Id="rId4" Type="http://schemas.openxmlformats.org/officeDocument/2006/relationships/image" Target="../media/image95.jpeg"/></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99.jpeg"/></Relationships>
</file>

<file path=ppt/slides/_rels/slide44.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01.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2.emf"/><Relationship Id="rId1" Type="http://schemas.openxmlformats.org/officeDocument/2006/relationships/slideLayout" Target="../slideLayouts/slideLayout7.xml"/><Relationship Id="rId6" Type="http://schemas.openxmlformats.org/officeDocument/2006/relationships/image" Target="../media/image106.emf"/><Relationship Id="rId5" Type="http://schemas.openxmlformats.org/officeDocument/2006/relationships/image" Target="../media/image105.emf"/><Relationship Id="rId4" Type="http://schemas.openxmlformats.org/officeDocument/2006/relationships/image" Target="../media/image104.emf"/></Relationships>
</file>

<file path=ppt/slides/_rels/slide4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08.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07.emf"/><Relationship Id="rId5" Type="http://schemas.openxmlformats.org/officeDocument/2006/relationships/slideLayout" Target="../slideLayouts/slideLayout7.xml"/><Relationship Id="rId4" Type="http://schemas.openxmlformats.org/officeDocument/2006/relationships/tags" Target="../tags/tag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44.jp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Advanced Analytics Bootcamp</a:t>
            </a:r>
          </a:p>
          <a:p>
            <a:r>
              <a:rPr lang="en-US" sz="3600" dirty="0">
                <a:latin typeface="Calibri" panose="020F0502020204030204" pitchFamily="34" charset="0"/>
              </a:rPr>
              <a:t>Module 3: Regression Techniques</a:t>
            </a:r>
            <a:br>
              <a:rPr lang="en-US" dirty="0"/>
            </a:br>
            <a:r>
              <a:rPr lang="en-US" sz="2800" dirty="0">
                <a:latin typeface="Calibri" panose="020F0502020204030204" pitchFamily="34" charset="0"/>
              </a:rPr>
              <a:t>Learning &amp; Development</a:t>
            </a:r>
            <a:endParaRPr lang="en-US" sz="2800" dirty="0"/>
          </a:p>
        </p:txBody>
      </p:sp>
    </p:spTree>
    <p:extLst>
      <p:ext uri="{BB962C8B-B14F-4D97-AF65-F5344CB8AC3E}">
        <p14:creationId xmlns:p14="http://schemas.microsoft.com/office/powerpoint/2010/main" val="18624005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2000975" y="1314961"/>
            <a:ext cx="8354337" cy="2932435"/>
          </a:xfrm>
          <a:prstGeom prst="rect">
            <a:avLst/>
          </a:prstGeom>
        </p:spPr>
        <p:txBody>
          <a:bodyPr wrap="square" lIns="0" tIns="0" rIns="0" bIns="0" rtlCol="0">
            <a:noAutofit/>
          </a:bodyPr>
          <a:lstStyle/>
          <a:p>
            <a:pPr marL="12677" marR="62673" defTabSz="912754">
              <a:lnSpc>
                <a:spcPct val="101725"/>
              </a:lnSpc>
              <a:spcBef>
                <a:spcPts val="784"/>
              </a:spcBef>
              <a:buClr>
                <a:srgbClr val="FF5800"/>
              </a:buClr>
            </a:pPr>
            <a:endParaRPr sz="2396" dirty="0">
              <a:solidFill>
                <a:srgbClr val="000000"/>
              </a:solidFill>
              <a:latin typeface="Calibri" panose="020F0502020204030204" pitchFamily="34" charset="0"/>
              <a:cs typeface="Calibri"/>
            </a:endParaRPr>
          </a:p>
        </p:txBody>
      </p:sp>
      <p:sp>
        <p:nvSpPr>
          <p:cNvPr id="7" name="object 7"/>
          <p:cNvSpPr txBox="1"/>
          <p:nvPr/>
        </p:nvSpPr>
        <p:spPr>
          <a:xfrm>
            <a:off x="2061062" y="1072073"/>
            <a:ext cx="196486" cy="367619"/>
          </a:xfrm>
          <a:prstGeom prst="rect">
            <a:avLst/>
          </a:prstGeom>
        </p:spPr>
        <p:txBody>
          <a:bodyPr wrap="square" lIns="0" tIns="0" rIns="0" bIns="0" rtlCol="0">
            <a:noAutofit/>
          </a:bodyPr>
          <a:lstStyle/>
          <a:p>
            <a:pPr marL="12677" defTabSz="912754">
              <a:lnSpc>
                <a:spcPts val="2855"/>
              </a:lnSpc>
              <a:spcBef>
                <a:spcPts val="143"/>
              </a:spcBef>
            </a:pPr>
            <a:endParaRPr sz="2695" dirty="0">
              <a:solidFill>
                <a:srgbClr val="000000"/>
              </a:solidFill>
              <a:latin typeface="Arial"/>
              <a:cs typeface="Arial"/>
            </a:endParaRPr>
          </a:p>
        </p:txBody>
      </p:sp>
      <p:sp>
        <p:nvSpPr>
          <p:cNvPr id="18" name="TextBox 17"/>
          <p:cNvSpPr txBox="1"/>
          <p:nvPr/>
        </p:nvSpPr>
        <p:spPr>
          <a:xfrm>
            <a:off x="960792" y="328346"/>
            <a:ext cx="8034379" cy="1200329"/>
          </a:xfrm>
          <a:prstGeom prst="rect">
            <a:avLst/>
          </a:prstGeom>
          <a:noFill/>
        </p:spPr>
        <p:txBody>
          <a:bodyPr wrap="none" rtlCol="0">
            <a:spAutoFit/>
          </a:bodyPr>
          <a:lstStyle/>
          <a:p>
            <a:pPr defTabSz="912754"/>
            <a:r>
              <a:rPr lang="en-US" sz="3600" dirty="0">
                <a:latin typeface="Segoe UI Light" panose="020B0502040204020203" pitchFamily="34" charset="0"/>
                <a:cs typeface="Segoe UI Light" panose="020B0502040204020203" pitchFamily="34" charset="0"/>
              </a:rPr>
              <a:t>Linear Regression with One Variable (1/2)</a:t>
            </a:r>
          </a:p>
          <a:p>
            <a:pPr defTabSz="912754"/>
            <a:endParaRPr lang="en-US" sz="3600" dirty="0">
              <a:solidFill>
                <a:srgbClr val="000000"/>
              </a:solidFill>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a:blip r:embed="rId3"/>
          <a:stretch>
            <a:fillRect/>
          </a:stretch>
        </p:blipFill>
        <p:spPr>
          <a:xfrm>
            <a:off x="1550615" y="2379123"/>
            <a:ext cx="2849922" cy="3087790"/>
          </a:xfrm>
          <a:prstGeom prst="rect">
            <a:avLst/>
          </a:prstGeom>
        </p:spPr>
      </p:pic>
      <p:pic>
        <p:nvPicPr>
          <p:cNvPr id="16" name="Picture 15"/>
          <p:cNvPicPr>
            <a:picLocks noChangeAspect="1"/>
          </p:cNvPicPr>
          <p:nvPr/>
        </p:nvPicPr>
        <p:blipFill>
          <a:blip r:embed="rId4"/>
          <a:stretch>
            <a:fillRect/>
          </a:stretch>
        </p:blipFill>
        <p:spPr>
          <a:xfrm>
            <a:off x="4534953" y="2379123"/>
            <a:ext cx="2957675" cy="3209590"/>
          </a:xfrm>
          <a:prstGeom prst="rect">
            <a:avLst/>
          </a:prstGeom>
        </p:spPr>
      </p:pic>
      <p:pic>
        <p:nvPicPr>
          <p:cNvPr id="17" name="Picture 16"/>
          <p:cNvPicPr>
            <a:picLocks noChangeAspect="1"/>
          </p:cNvPicPr>
          <p:nvPr/>
        </p:nvPicPr>
        <p:blipFill>
          <a:blip r:embed="rId5"/>
          <a:stretch>
            <a:fillRect/>
          </a:stretch>
        </p:blipFill>
        <p:spPr>
          <a:xfrm>
            <a:off x="7627044" y="2322913"/>
            <a:ext cx="3009473" cy="3265800"/>
          </a:xfrm>
          <a:prstGeom prst="rect">
            <a:avLst/>
          </a:prstGeom>
        </p:spPr>
      </p:pic>
      <p:pic>
        <p:nvPicPr>
          <p:cNvPr id="19" name="Picture 18"/>
          <p:cNvPicPr>
            <a:picLocks noChangeAspect="1"/>
          </p:cNvPicPr>
          <p:nvPr/>
        </p:nvPicPr>
        <p:blipFill>
          <a:blip r:embed="rId6"/>
          <a:stretch>
            <a:fillRect/>
          </a:stretch>
        </p:blipFill>
        <p:spPr>
          <a:xfrm>
            <a:off x="1907865" y="1899751"/>
            <a:ext cx="2933095" cy="407712"/>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pPr/>
              <a:t>10</a:t>
            </a:fld>
            <a:endParaRPr lang="en-US"/>
          </a:p>
        </p:txBody>
      </p:sp>
    </p:spTree>
    <p:extLst>
      <p:ext uri="{BB962C8B-B14F-4D97-AF65-F5344CB8AC3E}">
        <p14:creationId xmlns:p14="http://schemas.microsoft.com/office/powerpoint/2010/main" val="41049431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963734" y="1475097"/>
            <a:ext cx="3872339" cy="2433893"/>
          </a:xfrm>
          <a:prstGeom prst="rect">
            <a:avLst/>
          </a:prstGeom>
        </p:spPr>
      </p:pic>
      <p:pic>
        <p:nvPicPr>
          <p:cNvPr id="6" name="Picture 5"/>
          <p:cNvPicPr>
            <a:picLocks noChangeAspect="1"/>
          </p:cNvPicPr>
          <p:nvPr/>
        </p:nvPicPr>
        <p:blipFill>
          <a:blip r:embed="rId4"/>
          <a:stretch>
            <a:fillRect/>
          </a:stretch>
        </p:blipFill>
        <p:spPr>
          <a:xfrm>
            <a:off x="7384011" y="1793869"/>
            <a:ext cx="1265497" cy="396808"/>
          </a:xfrm>
          <a:prstGeom prst="rect">
            <a:avLst/>
          </a:prstGeom>
        </p:spPr>
      </p:pic>
      <p:pic>
        <p:nvPicPr>
          <p:cNvPr id="7" name="Picture 6"/>
          <p:cNvPicPr>
            <a:picLocks noChangeAspect="1"/>
          </p:cNvPicPr>
          <p:nvPr/>
        </p:nvPicPr>
        <p:blipFill>
          <a:blip r:embed="rId5"/>
          <a:stretch>
            <a:fillRect/>
          </a:stretch>
        </p:blipFill>
        <p:spPr>
          <a:xfrm>
            <a:off x="5995356" y="2307064"/>
            <a:ext cx="4381386" cy="1010153"/>
          </a:xfrm>
          <a:prstGeom prst="rect">
            <a:avLst/>
          </a:prstGeom>
        </p:spPr>
      </p:pic>
      <p:pic>
        <p:nvPicPr>
          <p:cNvPr id="8" name="Picture 7"/>
          <p:cNvPicPr>
            <a:picLocks noChangeAspect="1"/>
          </p:cNvPicPr>
          <p:nvPr/>
        </p:nvPicPr>
        <p:blipFill>
          <a:blip r:embed="rId6"/>
          <a:stretch>
            <a:fillRect/>
          </a:stretch>
        </p:blipFill>
        <p:spPr>
          <a:xfrm>
            <a:off x="7384010" y="3326519"/>
            <a:ext cx="1168369" cy="407712"/>
          </a:xfrm>
          <a:prstGeom prst="rect">
            <a:avLst/>
          </a:prstGeom>
        </p:spPr>
      </p:pic>
      <p:pic>
        <p:nvPicPr>
          <p:cNvPr id="9" name="Picture 8"/>
          <p:cNvPicPr>
            <a:picLocks noChangeAspect="1"/>
          </p:cNvPicPr>
          <p:nvPr/>
        </p:nvPicPr>
        <p:blipFill>
          <a:blip r:embed="rId7"/>
          <a:stretch>
            <a:fillRect/>
          </a:stretch>
        </p:blipFill>
        <p:spPr>
          <a:xfrm>
            <a:off x="6638002" y="3704313"/>
            <a:ext cx="3352978" cy="407712"/>
          </a:xfrm>
          <a:prstGeom prst="rect">
            <a:avLst/>
          </a:prstGeom>
        </p:spPr>
      </p:pic>
      <p:sp>
        <p:nvSpPr>
          <p:cNvPr id="10" name="TextBox 9"/>
          <p:cNvSpPr txBox="1"/>
          <p:nvPr/>
        </p:nvSpPr>
        <p:spPr>
          <a:xfrm>
            <a:off x="5950157" y="1765146"/>
            <a:ext cx="1401444" cy="460812"/>
          </a:xfrm>
          <a:prstGeom prst="rect">
            <a:avLst/>
          </a:prstGeom>
          <a:noFill/>
        </p:spPr>
        <p:txBody>
          <a:bodyPr wrap="none" rtlCol="0">
            <a:spAutoFit/>
          </a:bodyPr>
          <a:lstStyle/>
          <a:p>
            <a:pPr defTabSz="912754"/>
            <a:r>
              <a:rPr lang="en-US" sz="2396" dirty="0">
                <a:solidFill>
                  <a:srgbClr val="000000"/>
                </a:solidFill>
                <a:latin typeface="Calibri" panose="020F0502020204030204" pitchFamily="34" charset="0"/>
              </a:rPr>
              <a:t>Minimize </a:t>
            </a:r>
          </a:p>
        </p:txBody>
      </p:sp>
      <p:pic>
        <p:nvPicPr>
          <p:cNvPr id="11" name="Picture 10"/>
          <p:cNvPicPr>
            <a:picLocks noChangeAspect="1"/>
          </p:cNvPicPr>
          <p:nvPr/>
        </p:nvPicPr>
        <p:blipFill>
          <a:blip r:embed="rId8"/>
          <a:stretch>
            <a:fillRect/>
          </a:stretch>
        </p:blipFill>
        <p:spPr>
          <a:xfrm>
            <a:off x="2244618" y="4227993"/>
            <a:ext cx="5780996" cy="718060"/>
          </a:xfrm>
          <a:prstGeom prst="rect">
            <a:avLst/>
          </a:prstGeom>
        </p:spPr>
      </p:pic>
      <p:sp>
        <p:nvSpPr>
          <p:cNvPr id="12" name="Rectangle 11"/>
          <p:cNvSpPr/>
          <p:nvPr/>
        </p:nvSpPr>
        <p:spPr>
          <a:xfrm>
            <a:off x="1963734" y="5018091"/>
            <a:ext cx="8405103" cy="829461"/>
          </a:xfrm>
          <a:prstGeom prst="rect">
            <a:avLst/>
          </a:prstGeom>
        </p:spPr>
        <p:txBody>
          <a:bodyPr wrap="square">
            <a:spAutoFit/>
          </a:bodyPr>
          <a:lstStyle/>
          <a:p>
            <a:pPr defTabSz="912754"/>
            <a:r>
              <a:rPr lang="en-US" sz="2396" b="1" dirty="0">
                <a:solidFill>
                  <a:srgbClr val="000000"/>
                </a:solidFill>
                <a:latin typeface="Calibri" panose="020F0502020204030204" pitchFamily="34" charset="0"/>
              </a:rPr>
              <a:t>Idea: </a:t>
            </a:r>
            <a:r>
              <a:rPr lang="en-US" sz="2396" dirty="0">
                <a:solidFill>
                  <a:srgbClr val="000000"/>
                </a:solidFill>
                <a:latin typeface="Calibri" panose="020F0502020204030204" pitchFamily="34" charset="0"/>
              </a:rPr>
              <a:t>Choose </a:t>
            </a:r>
            <a:r>
              <a:rPr lang="en-US" sz="1797" dirty="0">
                <a:solidFill>
                  <a:srgbClr val="000000"/>
                </a:solidFill>
                <a:latin typeface="Calibri" panose="020F0502020204030204" pitchFamily="34" charset="0"/>
              </a:rPr>
              <a:t>	                            </a:t>
            </a:r>
            <a:r>
              <a:rPr lang="en-US" sz="2396" dirty="0">
                <a:solidFill>
                  <a:srgbClr val="000000"/>
                </a:solidFill>
                <a:latin typeface="Calibri" panose="020F0502020204030204" pitchFamily="34" charset="0"/>
              </a:rPr>
              <a:t>so that                is close to      for our training examples </a:t>
            </a:r>
          </a:p>
        </p:txBody>
      </p:sp>
      <p:sp>
        <p:nvSpPr>
          <p:cNvPr id="13" name="object 17"/>
          <p:cNvSpPr/>
          <p:nvPr/>
        </p:nvSpPr>
        <p:spPr>
          <a:xfrm>
            <a:off x="3756836" y="5142813"/>
            <a:ext cx="897873" cy="268854"/>
          </a:xfrm>
          <a:prstGeom prst="rect">
            <a:avLst/>
          </a:prstGeom>
          <a:blipFill>
            <a:blip r:embed="rId9" cstate="print"/>
            <a:stretch>
              <a:fillRect/>
            </a:stretch>
          </a:blipFill>
        </p:spPr>
        <p:txBody>
          <a:bodyPr wrap="square" lIns="0" tIns="0" rIns="0" bIns="0" rtlCol="0"/>
          <a:lstStyle/>
          <a:p>
            <a:pPr defTabSz="912754"/>
            <a:r>
              <a:rPr lang="en-US" sz="1797" dirty="0">
                <a:solidFill>
                  <a:srgbClr val="000000"/>
                </a:solidFill>
                <a:latin typeface="Calibri" panose="020F0502020204030204" pitchFamily="34" charset="0"/>
              </a:rPr>
              <a:t> </a:t>
            </a:r>
            <a:endParaRPr sz="1797" dirty="0">
              <a:solidFill>
                <a:srgbClr val="000000"/>
              </a:solidFill>
              <a:latin typeface="Calibri" panose="020F0502020204030204" pitchFamily="34" charset="0"/>
            </a:endParaRPr>
          </a:p>
        </p:txBody>
      </p:sp>
      <p:sp>
        <p:nvSpPr>
          <p:cNvPr id="14" name="object 18"/>
          <p:cNvSpPr/>
          <p:nvPr/>
        </p:nvSpPr>
        <p:spPr>
          <a:xfrm>
            <a:off x="6274670" y="5096656"/>
            <a:ext cx="922499" cy="336797"/>
          </a:xfrm>
          <a:prstGeom prst="rect">
            <a:avLst/>
          </a:prstGeom>
          <a:blipFill>
            <a:blip r:embed="rId10" cstate="print"/>
            <a:stretch>
              <a:fillRect/>
            </a:stretch>
          </a:blipFill>
        </p:spPr>
        <p:txBody>
          <a:bodyPr wrap="square" lIns="0" tIns="0" rIns="0" bIns="0" rtlCol="0"/>
          <a:lstStyle/>
          <a:p>
            <a:pPr defTabSz="912754"/>
            <a:endParaRPr sz="1797">
              <a:solidFill>
                <a:srgbClr val="000000"/>
              </a:solidFill>
              <a:latin typeface="Calibri" panose="020F0502020204030204" pitchFamily="34" charset="0"/>
            </a:endParaRPr>
          </a:p>
        </p:txBody>
      </p:sp>
      <p:sp>
        <p:nvSpPr>
          <p:cNvPr id="15" name="object 19"/>
          <p:cNvSpPr/>
          <p:nvPr/>
        </p:nvSpPr>
        <p:spPr>
          <a:xfrm>
            <a:off x="8561632" y="5142813"/>
            <a:ext cx="255498" cy="249167"/>
          </a:xfrm>
          <a:prstGeom prst="rect">
            <a:avLst/>
          </a:prstGeom>
          <a:blipFill>
            <a:blip r:embed="rId11" cstate="print"/>
            <a:stretch>
              <a:fillRect/>
            </a:stretch>
          </a:blipFill>
        </p:spPr>
        <p:txBody>
          <a:bodyPr wrap="square" lIns="0" tIns="0" rIns="0" bIns="0" rtlCol="0"/>
          <a:lstStyle/>
          <a:p>
            <a:pPr defTabSz="912754"/>
            <a:endParaRPr sz="1797">
              <a:solidFill>
                <a:srgbClr val="000000"/>
              </a:solidFill>
              <a:latin typeface="Calibri" panose="020F0502020204030204" pitchFamily="34" charset="0"/>
            </a:endParaRPr>
          </a:p>
        </p:txBody>
      </p:sp>
      <p:sp>
        <p:nvSpPr>
          <p:cNvPr id="16" name="object 20"/>
          <p:cNvSpPr/>
          <p:nvPr/>
        </p:nvSpPr>
        <p:spPr>
          <a:xfrm>
            <a:off x="4645907" y="5265055"/>
            <a:ext cx="696650" cy="293672"/>
          </a:xfrm>
          <a:prstGeom prst="rect">
            <a:avLst/>
          </a:prstGeom>
          <a:blipFill>
            <a:blip r:embed="rId12" cstate="print"/>
            <a:stretch>
              <a:fillRect/>
            </a:stretch>
          </a:blipFill>
        </p:spPr>
        <p:txBody>
          <a:bodyPr wrap="square" lIns="0" tIns="0" rIns="0" bIns="0" rtlCol="0"/>
          <a:lstStyle/>
          <a:p>
            <a:pPr defTabSz="912754"/>
            <a:endParaRPr sz="1797">
              <a:solidFill>
                <a:srgbClr val="000000"/>
              </a:solidFill>
              <a:latin typeface="Calibri" panose="020F0502020204030204" pitchFamily="34" charset="0"/>
            </a:endParaRPr>
          </a:p>
        </p:txBody>
      </p:sp>
      <p:pic>
        <p:nvPicPr>
          <p:cNvPr id="20" name="Picture 19"/>
          <p:cNvPicPr>
            <a:picLocks noChangeAspect="1"/>
          </p:cNvPicPr>
          <p:nvPr/>
        </p:nvPicPr>
        <p:blipFill>
          <a:blip r:embed="rId13"/>
          <a:stretch>
            <a:fillRect/>
          </a:stretch>
        </p:blipFill>
        <p:spPr>
          <a:xfrm>
            <a:off x="3691407" y="3678181"/>
            <a:ext cx="416994" cy="540548"/>
          </a:xfrm>
          <a:prstGeom prst="rect">
            <a:avLst/>
          </a:prstGeom>
        </p:spPr>
      </p:pic>
      <p:pic>
        <p:nvPicPr>
          <p:cNvPr id="21" name="Picture 20"/>
          <p:cNvPicPr>
            <a:picLocks noChangeAspect="1"/>
          </p:cNvPicPr>
          <p:nvPr/>
        </p:nvPicPr>
        <p:blipFill>
          <a:blip r:embed="rId14"/>
          <a:stretch>
            <a:fillRect/>
          </a:stretch>
        </p:blipFill>
        <p:spPr>
          <a:xfrm>
            <a:off x="1696819" y="2316306"/>
            <a:ext cx="452140" cy="575450"/>
          </a:xfrm>
          <a:prstGeom prst="rect">
            <a:avLst/>
          </a:prstGeom>
        </p:spPr>
      </p:pic>
      <p:sp>
        <p:nvSpPr>
          <p:cNvPr id="24" name="Title 2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Linear Regression with One Variable (2/2)</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1</a:t>
            </a:fld>
            <a:endParaRPr lang="en-US"/>
          </a:p>
        </p:txBody>
      </p:sp>
    </p:spTree>
    <p:extLst>
      <p:ext uri="{BB962C8B-B14F-4D97-AF65-F5344CB8AC3E}">
        <p14:creationId xmlns:p14="http://schemas.microsoft.com/office/powerpoint/2010/main" val="19500691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12</a:t>
            </a:fld>
            <a:endParaRPr lang="en-US"/>
          </a:p>
        </p:txBody>
      </p:sp>
      <p:sp>
        <p:nvSpPr>
          <p:cNvPr id="6" name="TextBox 5"/>
          <p:cNvSpPr txBox="1"/>
          <p:nvPr/>
        </p:nvSpPr>
        <p:spPr>
          <a:xfrm>
            <a:off x="1836688" y="2364172"/>
            <a:ext cx="8594684" cy="1476389"/>
          </a:xfrm>
          <a:prstGeom prst="rect">
            <a:avLst/>
          </a:prstGeom>
          <a:noFill/>
        </p:spPr>
        <p:txBody>
          <a:bodyPr wrap="square" rtlCol="0">
            <a:spAutoFit/>
          </a:bodyPr>
          <a:lstStyle/>
          <a:p>
            <a:pPr algn="ctr" defTabSz="455541"/>
            <a:r>
              <a:rPr lang="nl-NL" sz="4400" dirty="0">
                <a:solidFill>
                  <a:srgbClr val="FFFFFF"/>
                </a:solidFill>
              </a:rPr>
              <a:t>Linear Regression with M</a:t>
            </a:r>
            <a:r>
              <a:rPr lang="en-US" sz="4400" dirty="0" err="1">
                <a:solidFill>
                  <a:srgbClr val="FFFFFF"/>
                </a:solidFill>
              </a:rPr>
              <a:t>ultiple</a:t>
            </a:r>
            <a:r>
              <a:rPr lang="en-US" sz="4400" dirty="0">
                <a:solidFill>
                  <a:srgbClr val="FFFFFF"/>
                </a:solidFill>
              </a:rPr>
              <a:t> Variables</a:t>
            </a:r>
          </a:p>
        </p:txBody>
      </p:sp>
    </p:spTree>
    <p:extLst>
      <p:ext uri="{BB962C8B-B14F-4D97-AF65-F5344CB8AC3E}">
        <p14:creationId xmlns:p14="http://schemas.microsoft.com/office/powerpoint/2010/main" val="51156028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extLst>
              <p:ext uri="{D42A27DB-BD31-4B8C-83A1-F6EECF244321}">
                <p14:modId xmlns:p14="http://schemas.microsoft.com/office/powerpoint/2010/main" val="2649740745"/>
              </p:ext>
            </p:extLst>
          </p:nvPr>
        </p:nvGraphicFramePr>
        <p:xfrm>
          <a:off x="3738167" y="1755700"/>
          <a:ext cx="3762875" cy="2805954"/>
        </p:xfrm>
        <a:graphic>
          <a:graphicData uri="http://schemas.openxmlformats.org/drawingml/2006/table">
            <a:tbl>
              <a:tblPr firstRow="1" bandRow="1">
                <a:tableStyleId>{2D5ABB26-0587-4C30-8999-92F81FD0307C}</a:tableStyleId>
              </a:tblPr>
              <a:tblGrid>
                <a:gridCol w="1881504">
                  <a:extLst>
                    <a:ext uri="{9D8B030D-6E8A-4147-A177-3AD203B41FA5}">
                      <a16:colId xmlns:a16="http://schemas.microsoft.com/office/drawing/2014/main" val="20000"/>
                    </a:ext>
                  </a:extLst>
                </a:gridCol>
                <a:gridCol w="1881371">
                  <a:extLst>
                    <a:ext uri="{9D8B030D-6E8A-4147-A177-3AD203B41FA5}">
                      <a16:colId xmlns:a16="http://schemas.microsoft.com/office/drawing/2014/main" val="20001"/>
                    </a:ext>
                  </a:extLst>
                </a:gridCol>
              </a:tblGrid>
              <a:tr h="932823">
                <a:tc>
                  <a:txBody>
                    <a:bodyPr/>
                    <a:lstStyle/>
                    <a:p>
                      <a:pPr marL="6985" algn="ctr">
                        <a:lnSpc>
                          <a:spcPts val="2800"/>
                        </a:lnSpc>
                      </a:pPr>
                      <a:r>
                        <a:rPr sz="2400" b="1" i="0" spc="-5" dirty="0">
                          <a:latin typeface="+mn-lt"/>
                          <a:cs typeface="Microsoft Uighur"/>
                        </a:rPr>
                        <a:t>Size</a:t>
                      </a:r>
                      <a:r>
                        <a:rPr sz="2400" b="1" i="0" spc="-80" dirty="0">
                          <a:latin typeface="+mn-lt"/>
                          <a:cs typeface="Microsoft Uighur"/>
                        </a:rPr>
                        <a:t> </a:t>
                      </a:r>
                      <a:r>
                        <a:rPr sz="2400" b="1" i="0" spc="-5" dirty="0">
                          <a:latin typeface="+mn-lt"/>
                          <a:cs typeface="Microsoft Uighur"/>
                        </a:rPr>
                        <a:t>(feet</a:t>
                      </a:r>
                      <a:r>
                        <a:rPr sz="2400" b="1" i="0" spc="-7" baseline="20833" dirty="0">
                          <a:latin typeface="+mn-lt"/>
                          <a:cs typeface="Microsoft Uighur"/>
                        </a:rPr>
                        <a:t>2</a:t>
                      </a:r>
                      <a:r>
                        <a:rPr sz="2400" b="1" i="0" spc="-5" dirty="0">
                          <a:latin typeface="+mn-lt"/>
                          <a:cs typeface="Microsoft Uighur"/>
                        </a:rPr>
                        <a:t>)</a:t>
                      </a:r>
                      <a:endParaRPr sz="2400" b="1" i="0" dirty="0">
                        <a:latin typeface="+mn-lt"/>
                        <a:cs typeface="Microsoft Uighur"/>
                      </a:endParaRPr>
                    </a:p>
                  </a:txBody>
                  <a:tcPr marL="0" marR="0" marT="0" marB="0">
                    <a:lnR w="12700">
                      <a:solidFill>
                        <a:srgbClr val="000000"/>
                      </a:solidFill>
                      <a:prstDash val="solid"/>
                    </a:lnR>
                    <a:lnB w="12700">
                      <a:solidFill>
                        <a:srgbClr val="000000"/>
                      </a:solidFill>
                      <a:prstDash val="solid"/>
                    </a:lnB>
                  </a:tcPr>
                </a:tc>
                <a:tc>
                  <a:txBody>
                    <a:bodyPr/>
                    <a:lstStyle/>
                    <a:p>
                      <a:pPr algn="ctr">
                        <a:lnSpc>
                          <a:spcPts val="2800"/>
                        </a:lnSpc>
                      </a:pPr>
                      <a:r>
                        <a:rPr sz="2400" b="1" i="0" dirty="0">
                          <a:latin typeface="+mn-lt"/>
                          <a:cs typeface="Microsoft Uighur"/>
                        </a:rPr>
                        <a:t>Price</a:t>
                      </a:r>
                      <a:r>
                        <a:rPr sz="2400" b="1" i="0" spc="-125" dirty="0">
                          <a:latin typeface="+mn-lt"/>
                          <a:cs typeface="Microsoft Uighur"/>
                        </a:rPr>
                        <a:t> </a:t>
                      </a:r>
                      <a:r>
                        <a:rPr sz="2400" b="1" i="0" dirty="0">
                          <a:latin typeface="+mn-lt"/>
                          <a:cs typeface="Microsoft Uighur"/>
                        </a:rPr>
                        <a:t>($1000)</a:t>
                      </a:r>
                    </a:p>
                  </a:txBody>
                  <a:tcPr marL="0" marR="0" marT="0" marB="0">
                    <a:lnL w="12700">
                      <a:solidFill>
                        <a:srgbClr val="000000"/>
                      </a:solidFill>
                      <a:prstDash val="solid"/>
                    </a:lnL>
                    <a:lnB w="12700">
                      <a:solidFill>
                        <a:srgbClr val="000000"/>
                      </a:solidFill>
                      <a:prstDash val="solid"/>
                    </a:lnB>
                  </a:tcPr>
                </a:tc>
                <a:extLst>
                  <a:ext uri="{0D108BD9-81ED-4DB2-BD59-A6C34878D82A}">
                    <a16:rowId xmlns:a16="http://schemas.microsoft.com/office/drawing/2014/main" val="10000"/>
                  </a:ext>
                </a:extLst>
              </a:tr>
              <a:tr h="396503">
                <a:tc>
                  <a:txBody>
                    <a:bodyPr/>
                    <a:lstStyle/>
                    <a:p>
                      <a:pPr marL="6985" algn="ctr">
                        <a:lnSpc>
                          <a:spcPts val="2880"/>
                        </a:lnSpc>
                      </a:pPr>
                      <a:r>
                        <a:rPr sz="2400" b="0" i="0" spc="-5" dirty="0">
                          <a:latin typeface="+mn-lt"/>
                          <a:cs typeface="Microsoft Uighur"/>
                        </a:rPr>
                        <a:t>2104</a:t>
                      </a:r>
                      <a:endParaRPr sz="2400" b="0" i="0">
                        <a:latin typeface="+mn-lt"/>
                        <a:cs typeface="Microsoft Uighur"/>
                      </a:endParaRPr>
                    </a:p>
                  </a:txBody>
                  <a:tcPr marL="0" marR="0" marT="0" marB="0">
                    <a:lnR w="12700">
                      <a:solidFill>
                        <a:srgbClr val="000000"/>
                      </a:solidFill>
                      <a:prstDash val="solid"/>
                    </a:lnR>
                    <a:lnT w="12700">
                      <a:solidFill>
                        <a:srgbClr val="000000"/>
                      </a:solidFill>
                      <a:prstDash val="solid"/>
                    </a:lnT>
                  </a:tcPr>
                </a:tc>
                <a:tc>
                  <a:txBody>
                    <a:bodyPr/>
                    <a:lstStyle/>
                    <a:p>
                      <a:pPr algn="ctr">
                        <a:lnSpc>
                          <a:spcPts val="2880"/>
                        </a:lnSpc>
                      </a:pPr>
                      <a:r>
                        <a:rPr sz="2400" b="0" i="0" spc="-5" dirty="0">
                          <a:latin typeface="+mn-lt"/>
                          <a:cs typeface="Microsoft Uighur"/>
                        </a:rPr>
                        <a:t>460</a:t>
                      </a:r>
                      <a:endParaRPr sz="2400" b="0" i="0" dirty="0">
                        <a:latin typeface="+mn-lt"/>
                        <a:cs typeface="Microsoft Uighur"/>
                      </a:endParaRPr>
                    </a:p>
                  </a:txBody>
                  <a:tcPr marL="0" marR="0" marT="0" marB="0">
                    <a:lnL w="12700">
                      <a:solidFill>
                        <a:srgbClr val="000000"/>
                      </a:solidFill>
                      <a:prstDash val="solid"/>
                    </a:lnL>
                    <a:lnT w="12700">
                      <a:solidFill>
                        <a:srgbClr val="000000"/>
                      </a:solidFill>
                      <a:prstDash val="solid"/>
                    </a:lnT>
                  </a:tcPr>
                </a:tc>
                <a:extLst>
                  <a:ext uri="{0D108BD9-81ED-4DB2-BD59-A6C34878D82A}">
                    <a16:rowId xmlns:a16="http://schemas.microsoft.com/office/drawing/2014/main" val="10001"/>
                  </a:ext>
                </a:extLst>
              </a:tr>
              <a:tr h="369157">
                <a:tc>
                  <a:txBody>
                    <a:bodyPr/>
                    <a:lstStyle/>
                    <a:p>
                      <a:pPr marL="5080" algn="ctr">
                        <a:lnSpc>
                          <a:spcPts val="2695"/>
                        </a:lnSpc>
                      </a:pPr>
                      <a:r>
                        <a:rPr sz="2400" b="0" i="0" dirty="0">
                          <a:latin typeface="+mn-lt"/>
                          <a:cs typeface="Microsoft Uighur"/>
                        </a:rPr>
                        <a:t>1416</a:t>
                      </a:r>
                      <a:endParaRPr sz="2400" b="0" i="0">
                        <a:latin typeface="+mn-lt"/>
                        <a:cs typeface="Microsoft Uighur"/>
                      </a:endParaRPr>
                    </a:p>
                  </a:txBody>
                  <a:tcPr marL="0" marR="0" marT="0" marB="0">
                    <a:lnR w="12700">
                      <a:solidFill>
                        <a:srgbClr val="000000"/>
                      </a:solidFill>
                      <a:prstDash val="solid"/>
                    </a:lnR>
                  </a:tcPr>
                </a:tc>
                <a:tc>
                  <a:txBody>
                    <a:bodyPr/>
                    <a:lstStyle/>
                    <a:p>
                      <a:pPr algn="ctr">
                        <a:lnSpc>
                          <a:spcPts val="2695"/>
                        </a:lnSpc>
                      </a:pPr>
                      <a:r>
                        <a:rPr sz="2400" b="0" i="0" spc="-5" dirty="0">
                          <a:latin typeface="+mn-lt"/>
                          <a:cs typeface="Microsoft Uighur"/>
                        </a:rPr>
                        <a:t>232</a:t>
                      </a:r>
                      <a:endParaRPr sz="2400" b="0" i="0" dirty="0">
                        <a:latin typeface="+mn-lt"/>
                        <a:cs typeface="Microsoft Uighur"/>
                      </a:endParaRPr>
                    </a:p>
                  </a:txBody>
                  <a:tcPr marL="0" marR="0" marT="0" marB="0">
                    <a:lnL w="12700">
                      <a:solidFill>
                        <a:srgbClr val="000000"/>
                      </a:solidFill>
                      <a:prstDash val="solid"/>
                    </a:lnL>
                  </a:tcPr>
                </a:tc>
                <a:extLst>
                  <a:ext uri="{0D108BD9-81ED-4DB2-BD59-A6C34878D82A}">
                    <a16:rowId xmlns:a16="http://schemas.microsoft.com/office/drawing/2014/main" val="10002"/>
                  </a:ext>
                </a:extLst>
              </a:tr>
              <a:tr h="369157">
                <a:tc>
                  <a:txBody>
                    <a:bodyPr/>
                    <a:lstStyle/>
                    <a:p>
                      <a:pPr marL="5715" algn="ctr">
                        <a:lnSpc>
                          <a:spcPts val="2695"/>
                        </a:lnSpc>
                      </a:pPr>
                      <a:r>
                        <a:rPr sz="2400" b="0" i="0" dirty="0">
                          <a:latin typeface="+mn-lt"/>
                          <a:cs typeface="Microsoft Uighur"/>
                        </a:rPr>
                        <a:t>1534</a:t>
                      </a:r>
                      <a:endParaRPr sz="2400" b="0" i="0">
                        <a:latin typeface="+mn-lt"/>
                        <a:cs typeface="Microsoft Uighur"/>
                      </a:endParaRPr>
                    </a:p>
                  </a:txBody>
                  <a:tcPr marL="0" marR="0" marT="0" marB="0">
                    <a:lnR w="12700">
                      <a:solidFill>
                        <a:srgbClr val="000000"/>
                      </a:solidFill>
                      <a:prstDash val="solid"/>
                    </a:lnR>
                  </a:tcPr>
                </a:tc>
                <a:tc>
                  <a:txBody>
                    <a:bodyPr/>
                    <a:lstStyle/>
                    <a:p>
                      <a:pPr algn="ctr">
                        <a:lnSpc>
                          <a:spcPts val="2695"/>
                        </a:lnSpc>
                      </a:pPr>
                      <a:r>
                        <a:rPr sz="2400" b="0" i="0" spc="-5" dirty="0">
                          <a:latin typeface="+mn-lt"/>
                          <a:cs typeface="Microsoft Uighur"/>
                        </a:rPr>
                        <a:t>315</a:t>
                      </a:r>
                      <a:endParaRPr sz="2400" b="0" i="0" dirty="0">
                        <a:latin typeface="+mn-lt"/>
                        <a:cs typeface="Microsoft Uighur"/>
                      </a:endParaRPr>
                    </a:p>
                  </a:txBody>
                  <a:tcPr marL="0" marR="0" marT="0" marB="0">
                    <a:lnL w="12700">
                      <a:solidFill>
                        <a:srgbClr val="000000"/>
                      </a:solidFill>
                      <a:prstDash val="solid"/>
                    </a:lnL>
                  </a:tcPr>
                </a:tc>
                <a:extLst>
                  <a:ext uri="{0D108BD9-81ED-4DB2-BD59-A6C34878D82A}">
                    <a16:rowId xmlns:a16="http://schemas.microsoft.com/office/drawing/2014/main" val="10003"/>
                  </a:ext>
                </a:extLst>
              </a:tr>
              <a:tr h="369157">
                <a:tc>
                  <a:txBody>
                    <a:bodyPr/>
                    <a:lstStyle/>
                    <a:p>
                      <a:pPr marL="6350" algn="ctr">
                        <a:lnSpc>
                          <a:spcPts val="2695"/>
                        </a:lnSpc>
                      </a:pPr>
                      <a:r>
                        <a:rPr sz="2400" b="0" i="0" dirty="0">
                          <a:latin typeface="+mn-lt"/>
                          <a:cs typeface="Microsoft Uighur"/>
                        </a:rPr>
                        <a:t>852</a:t>
                      </a:r>
                      <a:endParaRPr sz="2400" b="0" i="0">
                        <a:latin typeface="+mn-lt"/>
                        <a:cs typeface="Microsoft Uighur"/>
                      </a:endParaRPr>
                    </a:p>
                  </a:txBody>
                  <a:tcPr marL="0" marR="0" marT="0" marB="0">
                    <a:lnR w="12700">
                      <a:solidFill>
                        <a:srgbClr val="000000"/>
                      </a:solidFill>
                      <a:prstDash val="solid"/>
                    </a:lnR>
                  </a:tcPr>
                </a:tc>
                <a:tc>
                  <a:txBody>
                    <a:bodyPr/>
                    <a:lstStyle/>
                    <a:p>
                      <a:pPr algn="ctr">
                        <a:lnSpc>
                          <a:spcPts val="2695"/>
                        </a:lnSpc>
                      </a:pPr>
                      <a:r>
                        <a:rPr sz="2400" b="0" i="0" dirty="0">
                          <a:latin typeface="+mn-lt"/>
                          <a:cs typeface="Microsoft Uighur"/>
                        </a:rPr>
                        <a:t>178</a:t>
                      </a:r>
                    </a:p>
                  </a:txBody>
                  <a:tcPr marL="0" marR="0" marT="0" marB="0">
                    <a:lnL w="12700">
                      <a:solidFill>
                        <a:srgbClr val="000000"/>
                      </a:solidFill>
                      <a:prstDash val="solid"/>
                    </a:lnL>
                  </a:tcPr>
                </a:tc>
                <a:extLst>
                  <a:ext uri="{0D108BD9-81ED-4DB2-BD59-A6C34878D82A}">
                    <a16:rowId xmlns:a16="http://schemas.microsoft.com/office/drawing/2014/main" val="10004"/>
                  </a:ext>
                </a:extLst>
              </a:tr>
              <a:tr h="369157">
                <a:tc>
                  <a:txBody>
                    <a:bodyPr/>
                    <a:lstStyle/>
                    <a:p>
                      <a:pPr marL="7620" algn="ctr">
                        <a:lnSpc>
                          <a:spcPts val="2695"/>
                        </a:lnSpc>
                      </a:pPr>
                      <a:r>
                        <a:rPr sz="2400" b="0" i="0" dirty="0">
                          <a:latin typeface="+mn-lt"/>
                          <a:cs typeface="Microsoft Uighur"/>
                        </a:rPr>
                        <a:t>…</a:t>
                      </a:r>
                      <a:endParaRPr sz="2400" b="0" i="0">
                        <a:latin typeface="+mn-lt"/>
                        <a:cs typeface="Microsoft Uighur"/>
                      </a:endParaRPr>
                    </a:p>
                  </a:txBody>
                  <a:tcPr marL="0" marR="0" marT="0" marB="0">
                    <a:lnR w="12700">
                      <a:solidFill>
                        <a:srgbClr val="000000"/>
                      </a:solidFill>
                      <a:prstDash val="solid"/>
                    </a:lnR>
                  </a:tcPr>
                </a:tc>
                <a:tc>
                  <a:txBody>
                    <a:bodyPr/>
                    <a:lstStyle/>
                    <a:p>
                      <a:pPr algn="ctr">
                        <a:lnSpc>
                          <a:spcPts val="2695"/>
                        </a:lnSpc>
                      </a:pPr>
                      <a:r>
                        <a:rPr sz="2400" b="0" i="0" dirty="0">
                          <a:latin typeface="+mn-lt"/>
                          <a:cs typeface="Microsoft Uighur"/>
                        </a:rPr>
                        <a:t>…</a:t>
                      </a:r>
                    </a:p>
                  </a:txBody>
                  <a:tcPr marL="0" marR="0" marT="0" marB="0">
                    <a:lnL w="12700">
                      <a:solidFill>
                        <a:srgbClr val="000000"/>
                      </a:solidFill>
                      <a:prstDash val="solid"/>
                    </a:lnL>
                  </a:tcPr>
                </a:tc>
                <a:extLst>
                  <a:ext uri="{0D108BD9-81ED-4DB2-BD59-A6C34878D82A}">
                    <a16:rowId xmlns:a16="http://schemas.microsoft.com/office/drawing/2014/main" val="10005"/>
                  </a:ext>
                </a:extLst>
              </a:tr>
            </a:tbl>
          </a:graphicData>
        </a:graphic>
      </p:graphicFrame>
      <p:sp>
        <p:nvSpPr>
          <p:cNvPr id="5" name="object 5"/>
          <p:cNvSpPr/>
          <p:nvPr/>
        </p:nvSpPr>
        <p:spPr>
          <a:xfrm>
            <a:off x="4646586" y="2364172"/>
            <a:ext cx="150119" cy="134435"/>
          </a:xfrm>
          <a:prstGeom prst="rect">
            <a:avLst/>
          </a:prstGeom>
          <a:blipFill>
            <a:blip r:embed="rId2" cstate="print"/>
            <a:stretch>
              <a:fillRect/>
            </a:stretch>
          </a:blipFill>
        </p:spPr>
        <p:txBody>
          <a:bodyPr wrap="square" lIns="0" tIns="0" rIns="0" bIns="0" rtlCol="0"/>
          <a:lstStyle/>
          <a:p>
            <a:pPr defTabSz="912754"/>
            <a:endParaRPr sz="1324">
              <a:solidFill>
                <a:prstClr val="black"/>
              </a:solidFill>
              <a:latin typeface="Arial"/>
            </a:endParaRPr>
          </a:p>
        </p:txBody>
      </p:sp>
      <p:sp>
        <p:nvSpPr>
          <p:cNvPr id="6" name="object 6"/>
          <p:cNvSpPr/>
          <p:nvPr/>
        </p:nvSpPr>
        <p:spPr>
          <a:xfrm>
            <a:off x="6476296" y="2364172"/>
            <a:ext cx="141158" cy="192691"/>
          </a:xfrm>
          <a:prstGeom prst="rect">
            <a:avLst/>
          </a:prstGeom>
          <a:blipFill>
            <a:blip r:embed="rId3" cstate="print"/>
            <a:stretch>
              <a:fillRect/>
            </a:stretch>
          </a:blipFill>
        </p:spPr>
        <p:txBody>
          <a:bodyPr wrap="square" lIns="0" tIns="0" rIns="0" bIns="0" rtlCol="0"/>
          <a:lstStyle/>
          <a:p>
            <a:pPr defTabSz="912754"/>
            <a:endParaRPr sz="1324">
              <a:solidFill>
                <a:prstClr val="black"/>
              </a:solidFill>
              <a:latin typeface="Arial"/>
            </a:endParaRPr>
          </a:p>
        </p:txBody>
      </p:sp>
      <p:sp>
        <p:nvSpPr>
          <p:cNvPr id="7" name="object 7"/>
          <p:cNvSpPr/>
          <p:nvPr/>
        </p:nvSpPr>
        <p:spPr>
          <a:xfrm>
            <a:off x="4181139" y="4962449"/>
            <a:ext cx="2876928" cy="401067"/>
          </a:xfrm>
          <a:prstGeom prst="rect">
            <a:avLst/>
          </a:prstGeom>
          <a:blipFill>
            <a:blip r:embed="rId4" cstate="print"/>
            <a:stretch>
              <a:fillRect/>
            </a:stretch>
          </a:blipFill>
        </p:spPr>
        <p:txBody>
          <a:bodyPr wrap="square" lIns="0" tIns="0" rIns="0" bIns="0" rtlCol="0"/>
          <a:lstStyle/>
          <a:p>
            <a:pPr defTabSz="912754"/>
            <a:endParaRPr sz="1324">
              <a:solidFill>
                <a:prstClr val="black"/>
              </a:solidFill>
              <a:latin typeface="Arial"/>
            </a:endParaRPr>
          </a:p>
        </p:txBody>
      </p:sp>
      <p:sp>
        <p:nvSpPr>
          <p:cNvPr id="8" name="object 8"/>
          <p:cNvSpPr txBox="1">
            <a:spLocks noGrp="1"/>
          </p:cNvSpPr>
          <p:nvPr>
            <p:ph type="title"/>
          </p:nvPr>
        </p:nvSpPr>
        <p:spPr>
          <a:xfrm>
            <a:off x="960792" y="390719"/>
            <a:ext cx="10270415" cy="498598"/>
          </a:xfrm>
          <a:prstGeom prst="rect">
            <a:avLst/>
          </a:prstGeom>
        </p:spPr>
        <p:txBody>
          <a:bodyPr vert="horz" wrap="square" lIns="0" tIns="0" rIns="0" bIns="0" numCol="1" rtlCol="0" anchor="t" anchorCtr="0" compatLnSpc="1">
            <a:prstTxWarp prst="textNoShape">
              <a:avLst/>
            </a:prstTxWarp>
            <a:spAutoFit/>
          </a:bodyPr>
          <a:lstStyle/>
          <a:p>
            <a:pPr marL="205408"/>
            <a:r>
              <a:rPr dirty="0">
                <a:latin typeface="Segoe UI Light" panose="020B0502040204020203" pitchFamily="34" charset="0"/>
                <a:cs typeface="Segoe UI Light" panose="020B0502040204020203" pitchFamily="34" charset="0"/>
              </a:rPr>
              <a:t>Multiple </a:t>
            </a:r>
            <a:r>
              <a:rPr lang="nl-NL" dirty="0">
                <a:latin typeface="Segoe UI Light" panose="020B0502040204020203" pitchFamily="34" charset="0"/>
                <a:cs typeface="Segoe UI Light" panose="020B0502040204020203" pitchFamily="34" charset="0"/>
              </a:rPr>
              <a:t>F</a:t>
            </a:r>
            <a:r>
              <a:rPr dirty="0" err="1">
                <a:latin typeface="Segoe UI Light" panose="020B0502040204020203" pitchFamily="34" charset="0"/>
                <a:cs typeface="Segoe UI Light" panose="020B0502040204020203" pitchFamily="34" charset="0"/>
              </a:rPr>
              <a:t>eatures</a:t>
            </a:r>
            <a:r>
              <a:rPr lang="nl-NL" dirty="0">
                <a:latin typeface="Segoe UI Light" panose="020B0502040204020203" pitchFamily="34" charset="0"/>
                <a:cs typeface="Segoe UI Light" panose="020B0502040204020203" pitchFamily="34" charset="0"/>
              </a:rPr>
              <a:t> </a:t>
            </a:r>
            <a:r>
              <a:rPr dirty="0">
                <a:latin typeface="Segoe UI Light" panose="020B0502040204020203" pitchFamily="34" charset="0"/>
                <a:cs typeface="Segoe UI Light" panose="020B0502040204020203" pitchFamily="34" charset="0"/>
              </a:rPr>
              <a:t>(</a:t>
            </a:r>
            <a:r>
              <a:rPr lang="nl-NL" dirty="0">
                <a:latin typeface="Segoe UI Light" panose="020B0502040204020203" pitchFamily="34" charset="0"/>
                <a:cs typeface="Segoe UI Light" panose="020B0502040204020203" pitchFamily="34" charset="0"/>
              </a:rPr>
              <a:t>V</a:t>
            </a:r>
            <a:r>
              <a:rPr dirty="0" err="1">
                <a:latin typeface="Segoe UI Light" panose="020B0502040204020203" pitchFamily="34" charset="0"/>
                <a:cs typeface="Segoe UI Light" panose="020B0502040204020203" pitchFamily="34" charset="0"/>
              </a:rPr>
              <a:t>ariables</a:t>
            </a:r>
            <a:r>
              <a:rPr dirty="0">
                <a:latin typeface="Segoe UI Light" panose="020B0502040204020203" pitchFamily="34" charset="0"/>
                <a:cs typeface="Segoe UI Light" panose="020B0502040204020203" pitchFamily="34" charset="0"/>
              </a:rPr>
              <a:t>)</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3</a:t>
            </a:fld>
            <a:endParaRPr lang="en-US"/>
          </a:p>
        </p:txBody>
      </p:sp>
    </p:spTree>
    <p:extLst>
      <p:ext uri="{BB962C8B-B14F-4D97-AF65-F5344CB8AC3E}">
        <p14:creationId xmlns:p14="http://schemas.microsoft.com/office/powerpoint/2010/main" val="163762039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960792" y="400879"/>
            <a:ext cx="10270415" cy="498598"/>
          </a:xfrm>
          <a:prstGeom prst="rect">
            <a:avLst/>
          </a:prstGeom>
        </p:spPr>
        <p:txBody>
          <a:bodyPr vert="horz" wrap="square" lIns="0" tIns="0" rIns="0" bIns="0" numCol="1" rtlCol="0" anchor="t" anchorCtr="0" compatLnSpc="1">
            <a:prstTxWarp prst="textNoShape">
              <a:avLst/>
            </a:prstTxWarp>
            <a:spAutoFit/>
          </a:bodyPr>
          <a:lstStyle/>
          <a:p>
            <a:pPr marL="9337"/>
            <a:r>
              <a:rPr dirty="0">
                <a:latin typeface="Segoe UI Light" panose="020B0502040204020203" pitchFamily="34" charset="0"/>
                <a:cs typeface="Segoe UI Light" panose="020B0502040204020203" pitchFamily="34" charset="0"/>
              </a:rPr>
              <a:t>Multiple </a:t>
            </a:r>
            <a:r>
              <a:rPr lang="nl-NL" dirty="0">
                <a:latin typeface="Segoe UI Light" panose="020B0502040204020203" pitchFamily="34" charset="0"/>
                <a:cs typeface="Segoe UI Light" panose="020B0502040204020203" pitchFamily="34" charset="0"/>
              </a:rPr>
              <a:t>F</a:t>
            </a:r>
            <a:r>
              <a:rPr dirty="0" err="1">
                <a:latin typeface="Segoe UI Light" panose="020B0502040204020203" pitchFamily="34" charset="0"/>
                <a:cs typeface="Segoe UI Light" panose="020B0502040204020203" pitchFamily="34" charset="0"/>
              </a:rPr>
              <a:t>eatures</a:t>
            </a:r>
            <a:r>
              <a:rPr dirty="0">
                <a:latin typeface="Segoe UI Light" panose="020B0502040204020203" pitchFamily="34" charset="0"/>
                <a:cs typeface="Segoe UI Light" panose="020B0502040204020203" pitchFamily="34" charset="0"/>
              </a:rPr>
              <a:t> (</a:t>
            </a:r>
            <a:r>
              <a:rPr lang="nl-NL" dirty="0">
                <a:latin typeface="Segoe UI Light" panose="020B0502040204020203" pitchFamily="34" charset="0"/>
                <a:cs typeface="Segoe UI Light" panose="020B0502040204020203" pitchFamily="34" charset="0"/>
              </a:rPr>
              <a:t>V</a:t>
            </a:r>
            <a:r>
              <a:rPr dirty="0" err="1">
                <a:latin typeface="Segoe UI Light" panose="020B0502040204020203" pitchFamily="34" charset="0"/>
                <a:cs typeface="Segoe UI Light" panose="020B0502040204020203" pitchFamily="34" charset="0"/>
              </a:rPr>
              <a:t>ariables</a:t>
            </a:r>
            <a:r>
              <a:rPr dirty="0">
                <a:latin typeface="Segoe UI Light" panose="020B0502040204020203" pitchFamily="34" charset="0"/>
                <a:cs typeface="Segoe UI Light" panose="020B0502040204020203" pitchFamily="34" charset="0"/>
              </a:rPr>
              <a:t>)</a:t>
            </a:r>
          </a:p>
        </p:txBody>
      </p:sp>
      <p:sp>
        <p:nvSpPr>
          <p:cNvPr id="5" name="object 5"/>
          <p:cNvSpPr txBox="1"/>
          <p:nvPr/>
        </p:nvSpPr>
        <p:spPr>
          <a:xfrm>
            <a:off x="1855043" y="4323922"/>
            <a:ext cx="1548610" cy="368649"/>
          </a:xfrm>
          <a:prstGeom prst="rect">
            <a:avLst/>
          </a:prstGeom>
        </p:spPr>
        <p:txBody>
          <a:bodyPr vert="horz" wrap="square" lIns="0" tIns="0" rIns="0" bIns="0" rtlCol="0">
            <a:spAutoFit/>
          </a:bodyPr>
          <a:lstStyle/>
          <a:p>
            <a:pPr marL="9337" defTabSz="912754"/>
            <a:r>
              <a:rPr sz="2396" spc="4" dirty="0">
                <a:solidFill>
                  <a:prstClr val="black"/>
                </a:solidFill>
                <a:cs typeface="Segoe UI Light"/>
              </a:rPr>
              <a:t>Notati</a:t>
            </a:r>
            <a:r>
              <a:rPr sz="2396" spc="7" dirty="0">
                <a:solidFill>
                  <a:prstClr val="black"/>
                </a:solidFill>
                <a:cs typeface="Segoe UI Light"/>
              </a:rPr>
              <a:t>o</a:t>
            </a:r>
            <a:r>
              <a:rPr sz="2396" dirty="0">
                <a:solidFill>
                  <a:prstClr val="black"/>
                </a:solidFill>
                <a:cs typeface="Segoe UI Light"/>
              </a:rPr>
              <a:t>n:</a:t>
            </a:r>
          </a:p>
        </p:txBody>
      </p:sp>
      <p:sp>
        <p:nvSpPr>
          <p:cNvPr id="7" name="object 7"/>
          <p:cNvSpPr txBox="1"/>
          <p:nvPr/>
        </p:nvSpPr>
        <p:spPr>
          <a:xfrm>
            <a:off x="2977575" y="4811439"/>
            <a:ext cx="5780495" cy="1246751"/>
          </a:xfrm>
          <a:prstGeom prst="rect">
            <a:avLst/>
          </a:prstGeom>
        </p:spPr>
        <p:txBody>
          <a:bodyPr vert="horz" wrap="square" lIns="0" tIns="0" rIns="0" bIns="0" rtlCol="0">
            <a:spAutoFit/>
          </a:bodyPr>
          <a:lstStyle/>
          <a:p>
            <a:pPr marL="9337" defTabSz="912754">
              <a:tabLst>
                <a:tab pos="2353318" algn="l"/>
              </a:tabLst>
            </a:pPr>
            <a:r>
              <a:rPr sz="2396" spc="4" dirty="0">
                <a:solidFill>
                  <a:prstClr val="black"/>
                </a:solidFill>
                <a:cs typeface="Segoe UI Light"/>
              </a:rPr>
              <a:t>= </a:t>
            </a:r>
            <a:r>
              <a:rPr lang="en-US" sz="2396" spc="4" dirty="0">
                <a:solidFill>
                  <a:prstClr val="black"/>
                </a:solidFill>
                <a:cs typeface="Segoe UI Light"/>
              </a:rPr>
              <a:t> </a:t>
            </a:r>
            <a:r>
              <a:rPr sz="2396" dirty="0">
                <a:solidFill>
                  <a:prstClr val="black"/>
                </a:solidFill>
                <a:cs typeface="Segoe UI Light"/>
              </a:rPr>
              <a:t>n</a:t>
            </a:r>
            <a:r>
              <a:rPr sz="2396" spc="7" dirty="0">
                <a:solidFill>
                  <a:prstClr val="black"/>
                </a:solidFill>
                <a:cs typeface="Segoe UI Light"/>
              </a:rPr>
              <a:t>u</a:t>
            </a:r>
            <a:r>
              <a:rPr sz="2396" spc="4" dirty="0">
                <a:solidFill>
                  <a:prstClr val="black"/>
                </a:solidFill>
                <a:cs typeface="Segoe UI Light"/>
              </a:rPr>
              <a:t>mber</a:t>
            </a:r>
            <a:r>
              <a:rPr sz="2396" spc="-11" dirty="0">
                <a:solidFill>
                  <a:prstClr val="black"/>
                </a:solidFill>
                <a:cs typeface="Segoe UI Light"/>
              </a:rPr>
              <a:t> </a:t>
            </a:r>
            <a:r>
              <a:rPr sz="2396" spc="-44" dirty="0">
                <a:solidFill>
                  <a:prstClr val="black"/>
                </a:solidFill>
                <a:cs typeface="Segoe UI Light"/>
              </a:rPr>
              <a:t>o</a:t>
            </a:r>
            <a:r>
              <a:rPr sz="2396" dirty="0">
                <a:solidFill>
                  <a:prstClr val="black"/>
                </a:solidFill>
                <a:cs typeface="Segoe UI Light"/>
              </a:rPr>
              <a:t>f </a:t>
            </a:r>
            <a:r>
              <a:rPr sz="2396" spc="4" dirty="0">
                <a:solidFill>
                  <a:prstClr val="black"/>
                </a:solidFill>
                <a:cs typeface="Segoe UI Light"/>
              </a:rPr>
              <a:t>fe</a:t>
            </a:r>
            <a:r>
              <a:rPr sz="2396" spc="7" dirty="0">
                <a:solidFill>
                  <a:prstClr val="black"/>
                </a:solidFill>
                <a:cs typeface="Segoe UI Light"/>
              </a:rPr>
              <a:t>a</a:t>
            </a:r>
            <a:r>
              <a:rPr sz="2396" dirty="0">
                <a:solidFill>
                  <a:prstClr val="black"/>
                </a:solidFill>
                <a:cs typeface="Segoe UI Light"/>
              </a:rPr>
              <a:t>t</a:t>
            </a:r>
            <a:r>
              <a:rPr sz="2396" spc="7" dirty="0">
                <a:solidFill>
                  <a:prstClr val="black"/>
                </a:solidFill>
                <a:cs typeface="Segoe UI Light"/>
              </a:rPr>
              <a:t>u</a:t>
            </a:r>
            <a:r>
              <a:rPr sz="2396" spc="-37" dirty="0">
                <a:solidFill>
                  <a:prstClr val="black"/>
                </a:solidFill>
                <a:cs typeface="Segoe UI Light"/>
              </a:rPr>
              <a:t>r</a:t>
            </a:r>
            <a:r>
              <a:rPr sz="2396" spc="4" dirty="0">
                <a:solidFill>
                  <a:prstClr val="black"/>
                </a:solidFill>
                <a:cs typeface="Segoe UI Light"/>
              </a:rPr>
              <a:t>es</a:t>
            </a:r>
            <a:r>
              <a:rPr lang="nl-NL" sz="2396" spc="4" dirty="0">
                <a:solidFill>
                  <a:prstClr val="black"/>
                </a:solidFill>
                <a:cs typeface="Segoe UI Light"/>
              </a:rPr>
              <a:t>   </a:t>
            </a:r>
            <a:r>
              <a:rPr sz="2396" spc="-37" dirty="0">
                <a:solidFill>
                  <a:prstClr val="black"/>
                </a:solidFill>
                <a:cs typeface="Segoe UI Light"/>
              </a:rPr>
              <a:t>4</a:t>
            </a:r>
            <a:endParaRPr sz="2396" dirty="0">
              <a:solidFill>
                <a:prstClr val="black"/>
              </a:solidFill>
              <a:cs typeface="Segoe UI Light"/>
            </a:endParaRPr>
          </a:p>
          <a:p>
            <a:pPr marL="9337" defTabSz="912754">
              <a:spcBef>
                <a:spcPts val="355"/>
              </a:spcBef>
              <a:tabLst>
                <a:tab pos="374402" algn="l"/>
              </a:tabLst>
            </a:pPr>
            <a:r>
              <a:rPr sz="2396" spc="4" dirty="0">
                <a:solidFill>
                  <a:prstClr val="black"/>
                </a:solidFill>
                <a:cs typeface="Segoe UI Light"/>
              </a:rPr>
              <a:t>=	</a:t>
            </a:r>
            <a:r>
              <a:rPr sz="2396" dirty="0">
                <a:solidFill>
                  <a:prstClr val="black"/>
                </a:solidFill>
                <a:cs typeface="Segoe UI Light"/>
              </a:rPr>
              <a:t>input </a:t>
            </a:r>
            <a:r>
              <a:rPr sz="2396" spc="-4" dirty="0">
                <a:solidFill>
                  <a:prstClr val="black"/>
                </a:solidFill>
                <a:cs typeface="Segoe UI Light"/>
              </a:rPr>
              <a:t>(</a:t>
            </a:r>
            <a:r>
              <a:rPr lang="en-US" sz="2396" spc="-4" dirty="0">
                <a:solidFill>
                  <a:prstClr val="black"/>
                </a:solidFill>
                <a:cs typeface="Segoe UI Light"/>
              </a:rPr>
              <a:t>     </a:t>
            </a:r>
            <a:r>
              <a:rPr sz="2396" spc="-4" dirty="0">
                <a:solidFill>
                  <a:prstClr val="black"/>
                </a:solidFill>
                <a:cs typeface="Segoe UI Light"/>
              </a:rPr>
              <a:t>features)</a:t>
            </a:r>
            <a:r>
              <a:rPr sz="2396" spc="-59" dirty="0">
                <a:solidFill>
                  <a:prstClr val="black"/>
                </a:solidFill>
                <a:cs typeface="Segoe UI Light"/>
              </a:rPr>
              <a:t> </a:t>
            </a:r>
            <a:r>
              <a:rPr sz="2396" spc="-22" dirty="0">
                <a:solidFill>
                  <a:prstClr val="black"/>
                </a:solidFill>
                <a:cs typeface="Segoe UI Light"/>
              </a:rPr>
              <a:t>of</a:t>
            </a:r>
            <a:r>
              <a:rPr lang="en-US" sz="2396" spc="-22" dirty="0">
                <a:solidFill>
                  <a:prstClr val="black"/>
                </a:solidFill>
                <a:cs typeface="Segoe UI Light"/>
              </a:rPr>
              <a:t> training example</a:t>
            </a:r>
            <a:endParaRPr sz="2396" dirty="0">
              <a:solidFill>
                <a:prstClr val="black"/>
              </a:solidFill>
              <a:cs typeface="Segoe UI Light"/>
            </a:endParaRPr>
          </a:p>
          <a:p>
            <a:pPr marL="9337" defTabSz="912754">
              <a:spcBef>
                <a:spcPts val="680"/>
              </a:spcBef>
              <a:tabLst>
                <a:tab pos="2122702" algn="l"/>
              </a:tabLst>
            </a:pPr>
            <a:r>
              <a:rPr sz="2396" spc="7" dirty="0">
                <a:solidFill>
                  <a:prstClr val="black"/>
                </a:solidFill>
                <a:cs typeface="Segoe UI Light"/>
              </a:rPr>
              <a:t>= </a:t>
            </a:r>
            <a:r>
              <a:rPr sz="2396" spc="4" dirty="0">
                <a:solidFill>
                  <a:prstClr val="black"/>
                </a:solidFill>
                <a:cs typeface="Segoe UI Light"/>
              </a:rPr>
              <a:t>value</a:t>
            </a:r>
            <a:r>
              <a:rPr sz="2396" dirty="0">
                <a:solidFill>
                  <a:prstClr val="black"/>
                </a:solidFill>
                <a:cs typeface="Segoe UI Light"/>
              </a:rPr>
              <a:t> </a:t>
            </a:r>
            <a:r>
              <a:rPr lang="en-US" sz="2396" dirty="0">
                <a:solidFill>
                  <a:prstClr val="black"/>
                </a:solidFill>
                <a:cs typeface="Segoe UI Light"/>
              </a:rPr>
              <a:t>        </a:t>
            </a:r>
            <a:r>
              <a:rPr sz="2396" spc="-22" dirty="0">
                <a:solidFill>
                  <a:prstClr val="black"/>
                </a:solidFill>
                <a:cs typeface="Segoe UI Light"/>
              </a:rPr>
              <a:t>of</a:t>
            </a:r>
            <a:r>
              <a:rPr sz="2396" spc="7" dirty="0">
                <a:solidFill>
                  <a:prstClr val="black"/>
                </a:solidFill>
                <a:cs typeface="Segoe UI Light"/>
              </a:rPr>
              <a:t> </a:t>
            </a:r>
            <a:r>
              <a:rPr sz="2396" spc="-4" dirty="0">
                <a:solidFill>
                  <a:prstClr val="black"/>
                </a:solidFill>
                <a:cs typeface="Segoe UI Light"/>
              </a:rPr>
              <a:t>feature</a:t>
            </a:r>
            <a:r>
              <a:rPr lang="en-US" sz="2396" spc="-4" dirty="0">
                <a:solidFill>
                  <a:prstClr val="black"/>
                </a:solidFill>
                <a:cs typeface="Segoe UI Light"/>
              </a:rPr>
              <a:t> </a:t>
            </a:r>
            <a:r>
              <a:rPr sz="2396" spc="4" dirty="0">
                <a:solidFill>
                  <a:prstClr val="black"/>
                </a:solidFill>
                <a:cs typeface="Segoe UI Light"/>
              </a:rPr>
              <a:t>in</a:t>
            </a:r>
            <a:r>
              <a:rPr lang="en-US" sz="2396" spc="4" dirty="0">
                <a:solidFill>
                  <a:prstClr val="black"/>
                </a:solidFill>
                <a:cs typeface="Segoe UI Light"/>
              </a:rPr>
              <a:t> training example</a:t>
            </a:r>
            <a:endParaRPr sz="2396" dirty="0">
              <a:solidFill>
                <a:prstClr val="black"/>
              </a:solidFill>
              <a:cs typeface="Segoe UI Light"/>
            </a:endParaRPr>
          </a:p>
        </p:txBody>
      </p:sp>
      <p:sp>
        <p:nvSpPr>
          <p:cNvPr id="8" name="object 8"/>
          <p:cNvSpPr txBox="1"/>
          <p:nvPr/>
        </p:nvSpPr>
        <p:spPr>
          <a:xfrm>
            <a:off x="9265921" y="5118071"/>
            <a:ext cx="937618" cy="316690"/>
          </a:xfrm>
          <a:prstGeom prst="rect">
            <a:avLst/>
          </a:prstGeom>
        </p:spPr>
        <p:txBody>
          <a:bodyPr vert="horz" wrap="square" lIns="0" tIns="0" rIns="0" bIns="0" rtlCol="0">
            <a:spAutoFit/>
          </a:bodyPr>
          <a:lstStyle/>
          <a:p>
            <a:pPr marL="9337" defTabSz="912754"/>
            <a:r>
              <a:rPr sz="2058" spc="-4" dirty="0">
                <a:solidFill>
                  <a:prstClr val="black"/>
                </a:solidFill>
                <a:cs typeface="Segoe UI Light"/>
              </a:rPr>
              <a:t>m=</a:t>
            </a:r>
            <a:r>
              <a:rPr sz="2058" spc="-74" dirty="0">
                <a:solidFill>
                  <a:prstClr val="black"/>
                </a:solidFill>
                <a:cs typeface="Segoe UI Light"/>
              </a:rPr>
              <a:t> </a:t>
            </a:r>
            <a:r>
              <a:rPr sz="2058" spc="-37" dirty="0">
                <a:solidFill>
                  <a:prstClr val="black"/>
                </a:solidFill>
                <a:cs typeface="Segoe UI Light"/>
              </a:rPr>
              <a:t>4</a:t>
            </a:r>
            <a:endParaRPr sz="2058" dirty="0">
              <a:solidFill>
                <a:prstClr val="black"/>
              </a:solidFill>
              <a:cs typeface="Segoe UI Light"/>
            </a:endParaRPr>
          </a:p>
        </p:txBody>
      </p:sp>
      <p:graphicFrame>
        <p:nvGraphicFramePr>
          <p:cNvPr id="9" name="object 9"/>
          <p:cNvGraphicFramePr>
            <a:graphicFrameLocks noGrp="1"/>
          </p:cNvGraphicFramePr>
          <p:nvPr>
            <p:extLst/>
          </p:nvPr>
        </p:nvGraphicFramePr>
        <p:xfrm>
          <a:off x="2023876" y="1659905"/>
          <a:ext cx="8318218" cy="2418322"/>
        </p:xfrm>
        <a:graphic>
          <a:graphicData uri="http://schemas.openxmlformats.org/drawingml/2006/table">
            <a:tbl>
              <a:tblPr firstRow="1" bandRow="1">
                <a:tableStyleId>{2D5ABB26-0587-4C30-8999-92F81FD0307C}</a:tableStyleId>
              </a:tblPr>
              <a:tblGrid>
                <a:gridCol w="1345086">
                  <a:extLst>
                    <a:ext uri="{9D8B030D-6E8A-4147-A177-3AD203B41FA5}">
                      <a16:colId xmlns:a16="http://schemas.microsoft.com/office/drawing/2014/main" val="20000"/>
                    </a:ext>
                  </a:extLst>
                </a:gridCol>
                <a:gridCol w="2091939">
                  <a:extLst>
                    <a:ext uri="{9D8B030D-6E8A-4147-A177-3AD203B41FA5}">
                      <a16:colId xmlns:a16="http://schemas.microsoft.com/office/drawing/2014/main" val="20001"/>
                    </a:ext>
                  </a:extLst>
                </a:gridCol>
                <a:gridCol w="1612405">
                  <a:extLst>
                    <a:ext uri="{9D8B030D-6E8A-4147-A177-3AD203B41FA5}">
                      <a16:colId xmlns:a16="http://schemas.microsoft.com/office/drawing/2014/main" val="20002"/>
                    </a:ext>
                  </a:extLst>
                </a:gridCol>
                <a:gridCol w="1796682">
                  <a:extLst>
                    <a:ext uri="{9D8B030D-6E8A-4147-A177-3AD203B41FA5}">
                      <a16:colId xmlns:a16="http://schemas.microsoft.com/office/drawing/2014/main" val="20003"/>
                    </a:ext>
                  </a:extLst>
                </a:gridCol>
                <a:gridCol w="1472106">
                  <a:extLst>
                    <a:ext uri="{9D8B030D-6E8A-4147-A177-3AD203B41FA5}">
                      <a16:colId xmlns:a16="http://schemas.microsoft.com/office/drawing/2014/main" val="20004"/>
                    </a:ext>
                  </a:extLst>
                </a:gridCol>
              </a:tblGrid>
              <a:tr h="764923">
                <a:tc>
                  <a:txBody>
                    <a:bodyPr/>
                    <a:lstStyle/>
                    <a:p>
                      <a:pPr marL="5080" algn="l">
                        <a:lnSpc>
                          <a:spcPts val="2345"/>
                        </a:lnSpc>
                      </a:pPr>
                      <a:r>
                        <a:rPr lang="en-US" sz="2000" baseline="-20833" dirty="0">
                          <a:latin typeface="Calibri" panose="020F0502020204030204" pitchFamily="34" charset="0"/>
                          <a:cs typeface="Segoe UI Light"/>
                        </a:rPr>
                        <a:t> </a:t>
                      </a:r>
                      <a:r>
                        <a:rPr lang="en-US" sz="2000" spc="4" baseline="0" dirty="0">
                          <a:solidFill>
                            <a:prstClr val="black"/>
                          </a:solidFill>
                          <a:latin typeface="Calibri" panose="020F0502020204030204" pitchFamily="34" charset="0"/>
                          <a:cs typeface="Segoe UI Light"/>
                        </a:rPr>
                        <a:t>S</a:t>
                      </a:r>
                      <a:r>
                        <a:rPr lang="en-US" sz="2000" spc="4" dirty="0">
                          <a:solidFill>
                            <a:prstClr val="black"/>
                          </a:solidFill>
                          <a:latin typeface="Calibri" panose="020F0502020204030204" pitchFamily="34" charset="0"/>
                          <a:cs typeface="Segoe UI Light"/>
                        </a:rPr>
                        <a:t>ize (feet</a:t>
                      </a:r>
                      <a:r>
                        <a:rPr lang="en-US" sz="2000" spc="4" baseline="30000" dirty="0">
                          <a:solidFill>
                            <a:prstClr val="black"/>
                          </a:solidFill>
                          <a:latin typeface="Calibri" panose="020F0502020204030204" pitchFamily="34" charset="0"/>
                          <a:cs typeface="Segoe UI Light"/>
                        </a:rPr>
                        <a:t>2</a:t>
                      </a:r>
                      <a:r>
                        <a:rPr lang="en-US" sz="2000" spc="4" dirty="0">
                          <a:solidFill>
                            <a:prstClr val="black"/>
                          </a:solidFill>
                          <a:latin typeface="Calibri" panose="020F0502020204030204" pitchFamily="34" charset="0"/>
                          <a:cs typeface="Segoe UI Light"/>
                        </a:rPr>
                        <a:t>)</a:t>
                      </a:r>
                    </a:p>
                    <a:p>
                      <a:pPr marL="5080" algn="ctr">
                        <a:lnSpc>
                          <a:spcPts val="2345"/>
                        </a:lnSpc>
                      </a:pPr>
                      <a:r>
                        <a:rPr lang="en-US" sz="2000" spc="4" baseline="0" dirty="0">
                          <a:solidFill>
                            <a:prstClr val="black"/>
                          </a:solidFill>
                          <a:latin typeface="Calibri" panose="020F0502020204030204" pitchFamily="34" charset="0"/>
                          <a:cs typeface="Segoe UI Light"/>
                        </a:rPr>
                        <a:t>X</a:t>
                      </a:r>
                      <a:r>
                        <a:rPr lang="en-US" sz="2000" spc="4" baseline="-25000" dirty="0">
                          <a:solidFill>
                            <a:prstClr val="black"/>
                          </a:solidFill>
                          <a:latin typeface="Calibri" panose="020F0502020204030204" pitchFamily="34" charset="0"/>
                          <a:cs typeface="Segoe UI Light"/>
                        </a:rPr>
                        <a:t>1</a:t>
                      </a:r>
                      <a:endParaRPr sz="2000" baseline="-25000" dirty="0">
                        <a:latin typeface="Calibri" panose="020F0502020204030204" pitchFamily="34" charset="0"/>
                        <a:cs typeface="Segoe UI Light"/>
                      </a:endParaRPr>
                    </a:p>
                  </a:txBody>
                  <a:tcPr marL="0" marR="0" marT="0" marB="0">
                    <a:lnR w="12700">
                      <a:solidFill>
                        <a:srgbClr val="000000"/>
                      </a:solidFill>
                      <a:prstDash val="solid"/>
                    </a:lnR>
                    <a:lnB w="12700">
                      <a:solidFill>
                        <a:srgbClr val="000000"/>
                      </a:solidFill>
                      <a:prstDash val="solid"/>
                    </a:lnB>
                  </a:tcPr>
                </a:tc>
                <a:tc>
                  <a:txBody>
                    <a:bodyPr/>
                    <a:lstStyle/>
                    <a:p>
                      <a:pPr marL="357505" indent="-43180" algn="l">
                        <a:lnSpc>
                          <a:spcPts val="2345"/>
                        </a:lnSpc>
                      </a:pPr>
                      <a:r>
                        <a:rPr lang="en-US" sz="2000" spc="4" dirty="0">
                          <a:solidFill>
                            <a:prstClr val="black"/>
                          </a:solidFill>
                          <a:latin typeface="Calibri" panose="020F0502020204030204" pitchFamily="34" charset="0"/>
                          <a:cs typeface="Segoe UI Light"/>
                        </a:rPr>
                        <a:t>  Number of Bedrooms X</a:t>
                      </a:r>
                      <a:r>
                        <a:rPr lang="en-US" sz="2000" spc="4" baseline="-25000" dirty="0">
                          <a:solidFill>
                            <a:prstClr val="black"/>
                          </a:solidFill>
                          <a:latin typeface="Calibri" panose="020F0502020204030204" pitchFamily="34" charset="0"/>
                          <a:cs typeface="Segoe UI Light"/>
                        </a:rPr>
                        <a:t>2</a:t>
                      </a:r>
                      <a:endParaRPr sz="2000" baseline="-25000" dirty="0">
                        <a:latin typeface="Calibri" panose="020F0502020204030204" pitchFamily="34" charset="0"/>
                        <a:cs typeface="Segoe UI Light"/>
                      </a:endParaRPr>
                    </a:p>
                  </a:txBody>
                  <a:tcPr marL="0" marR="0" marT="0" marB="0">
                    <a:lnL w="12700">
                      <a:solidFill>
                        <a:srgbClr val="000000"/>
                      </a:solidFill>
                      <a:prstDash val="solid"/>
                    </a:lnL>
                    <a:lnR w="12700">
                      <a:solidFill>
                        <a:srgbClr val="000000"/>
                      </a:solidFill>
                      <a:prstDash val="solid"/>
                    </a:lnR>
                    <a:lnB w="12700">
                      <a:solidFill>
                        <a:srgbClr val="000000"/>
                      </a:solidFill>
                      <a:prstDash val="solid"/>
                    </a:lnB>
                  </a:tcPr>
                </a:tc>
                <a:tc>
                  <a:txBody>
                    <a:bodyPr/>
                    <a:lstStyle/>
                    <a:p>
                      <a:pPr lvl="1" algn="l">
                        <a:lnSpc>
                          <a:spcPts val="2345"/>
                        </a:lnSpc>
                      </a:pPr>
                      <a:r>
                        <a:rPr lang="en-US" sz="2000" kern="1200" spc="4" dirty="0">
                          <a:solidFill>
                            <a:prstClr val="black"/>
                          </a:solidFill>
                          <a:latin typeface="Calibri" panose="020F0502020204030204" pitchFamily="34" charset="0"/>
                          <a:ea typeface="+mn-ea"/>
                          <a:cs typeface="Segoe UI Light"/>
                        </a:rPr>
                        <a:t>Number of</a:t>
                      </a:r>
                      <a:r>
                        <a:rPr lang="en-US" sz="2000" kern="1200" spc="4" baseline="0" dirty="0">
                          <a:solidFill>
                            <a:prstClr val="black"/>
                          </a:solidFill>
                          <a:latin typeface="Calibri" panose="020F0502020204030204" pitchFamily="34" charset="0"/>
                          <a:ea typeface="+mn-ea"/>
                          <a:cs typeface="Segoe UI Light"/>
                        </a:rPr>
                        <a:t> </a:t>
                      </a:r>
                      <a:r>
                        <a:rPr lang="en-US" sz="2000" kern="1200" spc="4" dirty="0">
                          <a:solidFill>
                            <a:prstClr val="black"/>
                          </a:solidFill>
                          <a:latin typeface="Calibri" panose="020F0502020204030204" pitchFamily="34" charset="0"/>
                          <a:ea typeface="+mn-ea"/>
                          <a:cs typeface="Segoe UI Light"/>
                        </a:rPr>
                        <a:t>floors X</a:t>
                      </a:r>
                      <a:r>
                        <a:rPr lang="en-US" sz="2000" kern="1200" spc="4" baseline="-25000" dirty="0">
                          <a:solidFill>
                            <a:prstClr val="black"/>
                          </a:solidFill>
                          <a:latin typeface="Calibri" panose="020F0502020204030204" pitchFamily="34" charset="0"/>
                          <a:ea typeface="+mn-ea"/>
                          <a:cs typeface="Segoe UI Light"/>
                        </a:rPr>
                        <a:t>3</a:t>
                      </a:r>
                      <a:endParaRPr sz="2000" kern="1200" spc="4" baseline="-25000" dirty="0">
                        <a:solidFill>
                          <a:prstClr val="black"/>
                        </a:solidFill>
                        <a:latin typeface="Calibri" panose="020F0502020204030204" pitchFamily="34" charset="0"/>
                        <a:ea typeface="+mn-ea"/>
                        <a:cs typeface="Segoe UI Light"/>
                      </a:endParaRPr>
                    </a:p>
                  </a:txBody>
                  <a:tcPr marL="0" marR="0" marT="0" marB="0">
                    <a:lnL w="12700">
                      <a:solidFill>
                        <a:srgbClr val="000000"/>
                      </a:solidFill>
                      <a:prstDash val="solid"/>
                    </a:lnL>
                    <a:lnR w="12700">
                      <a:solidFill>
                        <a:srgbClr val="000000"/>
                      </a:solidFill>
                      <a:prstDash val="solid"/>
                    </a:lnR>
                    <a:lnB w="12700">
                      <a:solidFill>
                        <a:srgbClr val="000000"/>
                      </a:solidFill>
                      <a:prstDash val="solid"/>
                    </a:lnB>
                  </a:tcPr>
                </a:tc>
                <a:tc>
                  <a:txBody>
                    <a:bodyPr/>
                    <a:lstStyle/>
                    <a:p>
                      <a:pPr marL="343330" lvl="1" algn="l" defTabSz="686660" rtl="0" eaLnBrk="1" latinLnBrk="0" hangingPunct="1">
                        <a:lnSpc>
                          <a:spcPts val="2345"/>
                        </a:lnSpc>
                        <a:spcBef>
                          <a:spcPts val="5"/>
                        </a:spcBef>
                      </a:pPr>
                      <a:r>
                        <a:rPr lang="en-US" sz="2000" kern="1200" spc="4" dirty="0">
                          <a:solidFill>
                            <a:prstClr val="black"/>
                          </a:solidFill>
                          <a:latin typeface="Calibri" panose="020F0502020204030204" pitchFamily="34" charset="0"/>
                          <a:ea typeface="+mn-ea"/>
                          <a:cs typeface="Segoe UI Light"/>
                        </a:rPr>
                        <a:t>Age of Home (years) X</a:t>
                      </a:r>
                      <a:r>
                        <a:rPr lang="en-US" sz="2000" kern="1200" spc="4" baseline="-25000" dirty="0">
                          <a:solidFill>
                            <a:prstClr val="black"/>
                          </a:solidFill>
                          <a:latin typeface="Calibri" panose="020F0502020204030204" pitchFamily="34" charset="0"/>
                          <a:ea typeface="+mn-ea"/>
                          <a:cs typeface="Segoe UI Light"/>
                        </a:rPr>
                        <a:t>4</a:t>
                      </a:r>
                      <a:endParaRPr sz="2000" kern="1200" spc="4" baseline="-25000" dirty="0">
                        <a:solidFill>
                          <a:prstClr val="black"/>
                        </a:solidFill>
                        <a:latin typeface="Calibri" panose="020F0502020204030204" pitchFamily="34" charset="0"/>
                        <a:ea typeface="+mn-ea"/>
                        <a:cs typeface="Segoe UI Light"/>
                      </a:endParaRPr>
                    </a:p>
                  </a:txBody>
                  <a:tcPr marL="0" marR="0" marT="0" marB="0">
                    <a:lnL w="12700">
                      <a:solidFill>
                        <a:srgbClr val="000000"/>
                      </a:solidFill>
                      <a:prstDash val="solid"/>
                    </a:lnL>
                    <a:lnR w="12700">
                      <a:solidFill>
                        <a:srgbClr val="000000"/>
                      </a:solidFill>
                      <a:prstDash val="solid"/>
                    </a:lnR>
                    <a:lnB w="12700">
                      <a:solidFill>
                        <a:srgbClr val="000000"/>
                      </a:solidFill>
                      <a:prstDash val="solid"/>
                    </a:lnB>
                  </a:tcPr>
                </a:tc>
                <a:tc>
                  <a:txBody>
                    <a:bodyPr/>
                    <a:lstStyle/>
                    <a:p>
                      <a:pPr marL="475615" lvl="0">
                        <a:lnSpc>
                          <a:spcPts val="2345"/>
                        </a:lnSpc>
                      </a:pPr>
                      <a:r>
                        <a:rPr lang="en-US" sz="2000" dirty="0">
                          <a:latin typeface="Calibri" panose="020F0502020204030204" pitchFamily="34" charset="0"/>
                          <a:cs typeface="Segoe UI Light"/>
                        </a:rPr>
                        <a:t>Price ($1000) Y</a:t>
                      </a:r>
                      <a:endParaRPr sz="2000" dirty="0">
                        <a:latin typeface="Calibri" panose="020F0502020204030204" pitchFamily="34" charset="0"/>
                        <a:cs typeface="Segoe UI Light"/>
                      </a:endParaRPr>
                    </a:p>
                  </a:txBody>
                  <a:tcPr marL="0" marR="0" marT="0" marB="0">
                    <a:lnL w="12700">
                      <a:solidFill>
                        <a:srgbClr val="000000"/>
                      </a:solidFill>
                      <a:prstDash val="solid"/>
                    </a:lnL>
                    <a:lnB w="12700">
                      <a:solidFill>
                        <a:srgbClr val="000000"/>
                      </a:solidFill>
                      <a:prstDash val="solid"/>
                    </a:lnB>
                  </a:tcPr>
                </a:tc>
                <a:extLst>
                  <a:ext uri="{0D108BD9-81ED-4DB2-BD59-A6C34878D82A}">
                    <a16:rowId xmlns:a16="http://schemas.microsoft.com/office/drawing/2014/main" val="10000"/>
                  </a:ext>
                </a:extLst>
              </a:tr>
              <a:tr h="352363">
                <a:tc>
                  <a:txBody>
                    <a:bodyPr/>
                    <a:lstStyle/>
                    <a:p>
                      <a:pPr marR="546100" algn="r">
                        <a:lnSpc>
                          <a:spcPts val="2565"/>
                        </a:lnSpc>
                      </a:pPr>
                      <a:r>
                        <a:rPr sz="2000" spc="-5" dirty="0">
                          <a:latin typeface="Calibri" panose="020F0502020204030204" pitchFamily="34" charset="0"/>
                          <a:cs typeface="Microsoft Uighur"/>
                        </a:rPr>
                        <a:t>21</a:t>
                      </a:r>
                      <a:r>
                        <a:rPr sz="2000" spc="5" dirty="0">
                          <a:latin typeface="Calibri" panose="020F0502020204030204" pitchFamily="34" charset="0"/>
                          <a:cs typeface="Microsoft Uighur"/>
                        </a:rPr>
                        <a:t>0</a:t>
                      </a:r>
                      <a:r>
                        <a:rPr sz="2000" dirty="0">
                          <a:latin typeface="Calibri" panose="020F0502020204030204" pitchFamily="34" charset="0"/>
                          <a:cs typeface="Microsoft Uighur"/>
                        </a:rPr>
                        <a:t>4</a:t>
                      </a:r>
                    </a:p>
                  </a:txBody>
                  <a:tcPr marL="0" marR="0" marT="0" marB="0">
                    <a:lnR w="12700">
                      <a:solidFill>
                        <a:srgbClr val="000000"/>
                      </a:solidFill>
                      <a:prstDash val="solid"/>
                    </a:lnR>
                    <a:lnT w="12700">
                      <a:solidFill>
                        <a:srgbClr val="000000"/>
                      </a:solidFill>
                      <a:prstDash val="solid"/>
                    </a:lnT>
                  </a:tcPr>
                </a:tc>
                <a:tc>
                  <a:txBody>
                    <a:bodyPr/>
                    <a:lstStyle/>
                    <a:p>
                      <a:pPr marR="700405" algn="r">
                        <a:lnSpc>
                          <a:spcPts val="2565"/>
                        </a:lnSpc>
                      </a:pPr>
                      <a:r>
                        <a:rPr sz="2000" dirty="0">
                          <a:latin typeface="Calibri" panose="020F0502020204030204" pitchFamily="34" charset="0"/>
                          <a:cs typeface="Microsoft Uighur"/>
                        </a:rPr>
                        <a:t>5</a:t>
                      </a:r>
                    </a:p>
                  </a:txBody>
                  <a:tcPr marL="0" marR="0" marT="0" marB="0">
                    <a:lnL w="12700">
                      <a:solidFill>
                        <a:srgbClr val="000000"/>
                      </a:solidFill>
                      <a:prstDash val="solid"/>
                    </a:lnL>
                    <a:lnR w="12700">
                      <a:solidFill>
                        <a:srgbClr val="000000"/>
                      </a:solidFill>
                      <a:prstDash val="solid"/>
                    </a:lnR>
                    <a:lnT w="12700">
                      <a:solidFill>
                        <a:srgbClr val="000000"/>
                      </a:solidFill>
                      <a:prstDash val="solid"/>
                    </a:lnT>
                  </a:tcPr>
                </a:tc>
                <a:tc>
                  <a:txBody>
                    <a:bodyPr/>
                    <a:lstStyle/>
                    <a:p>
                      <a:pPr algn="ctr">
                        <a:lnSpc>
                          <a:spcPts val="2565"/>
                        </a:lnSpc>
                      </a:pPr>
                      <a:r>
                        <a:rPr sz="2000" dirty="0">
                          <a:latin typeface="Calibri" panose="020F0502020204030204" pitchFamily="34" charset="0"/>
                          <a:cs typeface="Microsoft Uighur"/>
                        </a:rPr>
                        <a:t>1</a:t>
                      </a:r>
                    </a:p>
                  </a:txBody>
                  <a:tcPr marL="0" marR="0" marT="0" marB="0">
                    <a:lnL w="12700">
                      <a:solidFill>
                        <a:srgbClr val="000000"/>
                      </a:solidFill>
                      <a:prstDash val="solid"/>
                    </a:lnL>
                    <a:lnR w="12700">
                      <a:solidFill>
                        <a:srgbClr val="000000"/>
                      </a:solidFill>
                      <a:prstDash val="solid"/>
                    </a:lnR>
                    <a:lnT w="12700">
                      <a:solidFill>
                        <a:srgbClr val="000000"/>
                      </a:solidFill>
                      <a:prstDash val="solid"/>
                    </a:lnT>
                  </a:tcPr>
                </a:tc>
                <a:tc>
                  <a:txBody>
                    <a:bodyPr/>
                    <a:lstStyle/>
                    <a:p>
                      <a:pPr marL="862330">
                        <a:lnSpc>
                          <a:spcPts val="2565"/>
                        </a:lnSpc>
                      </a:pPr>
                      <a:r>
                        <a:rPr sz="2000" dirty="0">
                          <a:latin typeface="Calibri" panose="020F0502020204030204" pitchFamily="34" charset="0"/>
                          <a:cs typeface="Microsoft Uighur"/>
                        </a:rPr>
                        <a:t>45</a:t>
                      </a:r>
                    </a:p>
                  </a:txBody>
                  <a:tcPr marL="0" marR="0" marT="0" marB="0">
                    <a:lnL w="12700">
                      <a:solidFill>
                        <a:srgbClr val="000000"/>
                      </a:solidFill>
                      <a:prstDash val="solid"/>
                    </a:lnL>
                    <a:lnR w="12700">
                      <a:solidFill>
                        <a:srgbClr val="000000"/>
                      </a:solidFill>
                      <a:prstDash val="solid"/>
                    </a:lnR>
                    <a:lnT w="12700">
                      <a:solidFill>
                        <a:srgbClr val="000000"/>
                      </a:solidFill>
                      <a:prstDash val="solid"/>
                    </a:lnT>
                  </a:tcPr>
                </a:tc>
                <a:tc>
                  <a:txBody>
                    <a:bodyPr/>
                    <a:lstStyle/>
                    <a:p>
                      <a:pPr algn="ctr">
                        <a:lnSpc>
                          <a:spcPts val="2565"/>
                        </a:lnSpc>
                      </a:pPr>
                      <a:r>
                        <a:rPr sz="2000" spc="-5" dirty="0">
                          <a:latin typeface="Calibri" panose="020F0502020204030204" pitchFamily="34" charset="0"/>
                          <a:cs typeface="Microsoft Uighur"/>
                        </a:rPr>
                        <a:t>460</a:t>
                      </a:r>
                      <a:endParaRPr sz="2000" dirty="0">
                        <a:latin typeface="Calibri" panose="020F0502020204030204" pitchFamily="34" charset="0"/>
                        <a:cs typeface="Microsoft Uighur"/>
                      </a:endParaRPr>
                    </a:p>
                  </a:txBody>
                  <a:tcPr marL="0" marR="0" marT="0" marB="0">
                    <a:lnL w="12700">
                      <a:solidFill>
                        <a:srgbClr val="000000"/>
                      </a:solidFill>
                      <a:prstDash val="solid"/>
                    </a:lnL>
                    <a:lnT w="12700">
                      <a:solidFill>
                        <a:srgbClr val="000000"/>
                      </a:solidFill>
                      <a:prstDash val="solid"/>
                    </a:lnT>
                  </a:tcPr>
                </a:tc>
                <a:extLst>
                  <a:ext uri="{0D108BD9-81ED-4DB2-BD59-A6C34878D82A}">
                    <a16:rowId xmlns:a16="http://schemas.microsoft.com/office/drawing/2014/main" val="10001"/>
                  </a:ext>
                </a:extLst>
              </a:tr>
              <a:tr h="325259">
                <a:tc>
                  <a:txBody>
                    <a:bodyPr/>
                    <a:lstStyle/>
                    <a:p>
                      <a:pPr marR="559435" algn="r">
                        <a:lnSpc>
                          <a:spcPts val="2400"/>
                        </a:lnSpc>
                      </a:pPr>
                      <a:r>
                        <a:rPr sz="2000" dirty="0">
                          <a:latin typeface="Calibri" panose="020F0502020204030204" pitchFamily="34" charset="0"/>
                          <a:cs typeface="Microsoft Uighur"/>
                        </a:rPr>
                        <a:t>14</a:t>
                      </a:r>
                      <a:r>
                        <a:rPr sz="2000" spc="5" dirty="0">
                          <a:latin typeface="Calibri" panose="020F0502020204030204" pitchFamily="34" charset="0"/>
                          <a:cs typeface="Microsoft Uighur"/>
                        </a:rPr>
                        <a:t>1</a:t>
                      </a:r>
                      <a:r>
                        <a:rPr sz="2000" dirty="0">
                          <a:latin typeface="Calibri" panose="020F0502020204030204" pitchFamily="34" charset="0"/>
                          <a:cs typeface="Microsoft Uighur"/>
                        </a:rPr>
                        <a:t>6</a:t>
                      </a:r>
                      <a:endParaRPr sz="2000">
                        <a:latin typeface="Calibri" panose="020F0502020204030204" pitchFamily="34" charset="0"/>
                        <a:cs typeface="Microsoft Uighur"/>
                      </a:endParaRPr>
                    </a:p>
                  </a:txBody>
                  <a:tcPr marL="0" marR="0" marT="0" marB="0">
                    <a:lnR w="12700">
                      <a:solidFill>
                        <a:srgbClr val="000000"/>
                      </a:solidFill>
                      <a:prstDash val="solid"/>
                    </a:lnR>
                  </a:tcPr>
                </a:tc>
                <a:tc>
                  <a:txBody>
                    <a:bodyPr/>
                    <a:lstStyle/>
                    <a:p>
                      <a:pPr marR="700405" algn="r">
                        <a:lnSpc>
                          <a:spcPts val="2400"/>
                        </a:lnSpc>
                      </a:pPr>
                      <a:r>
                        <a:rPr sz="2000" dirty="0">
                          <a:latin typeface="Calibri" panose="020F0502020204030204" pitchFamily="34" charset="0"/>
                          <a:cs typeface="Microsoft Uighur"/>
                        </a:rPr>
                        <a:t>3</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dirty="0">
                          <a:latin typeface="Calibri" panose="020F0502020204030204" pitchFamily="34" charset="0"/>
                          <a:cs typeface="Microsoft Uighur"/>
                        </a:rPr>
                        <a:t>2</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marL="855980">
                        <a:lnSpc>
                          <a:spcPts val="2400"/>
                        </a:lnSpc>
                      </a:pPr>
                      <a:r>
                        <a:rPr sz="2000" dirty="0">
                          <a:latin typeface="Calibri" panose="020F0502020204030204" pitchFamily="34" charset="0"/>
                          <a:cs typeface="Microsoft Uighur"/>
                        </a:rPr>
                        <a:t>40</a:t>
                      </a: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spc="-5" dirty="0">
                          <a:latin typeface="Calibri" panose="020F0502020204030204" pitchFamily="34" charset="0"/>
                          <a:cs typeface="Microsoft Uighur"/>
                        </a:rPr>
                        <a:t>232</a:t>
                      </a:r>
                      <a:endParaRPr sz="2000" dirty="0">
                        <a:latin typeface="Calibri" panose="020F0502020204030204" pitchFamily="34" charset="0"/>
                        <a:cs typeface="Microsoft Uighur"/>
                      </a:endParaRPr>
                    </a:p>
                  </a:txBody>
                  <a:tcPr marL="0" marR="0" marT="0" marB="0">
                    <a:lnL w="12700">
                      <a:solidFill>
                        <a:srgbClr val="000000"/>
                      </a:solidFill>
                      <a:prstDash val="solid"/>
                    </a:lnL>
                  </a:tcPr>
                </a:tc>
                <a:extLst>
                  <a:ext uri="{0D108BD9-81ED-4DB2-BD59-A6C34878D82A}">
                    <a16:rowId xmlns:a16="http://schemas.microsoft.com/office/drawing/2014/main" val="10002"/>
                  </a:ext>
                </a:extLst>
              </a:tr>
              <a:tr h="325259">
                <a:tc>
                  <a:txBody>
                    <a:bodyPr/>
                    <a:lstStyle/>
                    <a:p>
                      <a:pPr marR="559435" algn="r">
                        <a:lnSpc>
                          <a:spcPts val="2400"/>
                        </a:lnSpc>
                      </a:pPr>
                      <a:r>
                        <a:rPr sz="2000" dirty="0">
                          <a:latin typeface="Calibri" panose="020F0502020204030204" pitchFamily="34" charset="0"/>
                          <a:cs typeface="Microsoft Uighur"/>
                        </a:rPr>
                        <a:t>1534</a:t>
                      </a:r>
                      <a:endParaRPr sz="2000">
                        <a:latin typeface="Calibri" panose="020F0502020204030204" pitchFamily="34" charset="0"/>
                        <a:cs typeface="Microsoft Uighur"/>
                      </a:endParaRPr>
                    </a:p>
                  </a:txBody>
                  <a:tcPr marL="0" marR="0" marT="0" marB="0">
                    <a:lnR w="12700">
                      <a:solidFill>
                        <a:srgbClr val="000000"/>
                      </a:solidFill>
                      <a:prstDash val="solid"/>
                    </a:lnR>
                  </a:tcPr>
                </a:tc>
                <a:tc>
                  <a:txBody>
                    <a:bodyPr/>
                    <a:lstStyle/>
                    <a:p>
                      <a:pPr marR="700405" algn="r">
                        <a:lnSpc>
                          <a:spcPts val="2400"/>
                        </a:lnSpc>
                      </a:pPr>
                      <a:r>
                        <a:rPr sz="2000" dirty="0">
                          <a:latin typeface="Calibri" panose="020F0502020204030204" pitchFamily="34" charset="0"/>
                          <a:cs typeface="Microsoft Uighur"/>
                        </a:rPr>
                        <a:t>3</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dirty="0">
                          <a:latin typeface="Calibri" panose="020F0502020204030204" pitchFamily="34" charset="0"/>
                          <a:cs typeface="Microsoft Uighur"/>
                        </a:rPr>
                        <a:t>2</a:t>
                      </a:r>
                    </a:p>
                  </a:txBody>
                  <a:tcPr marL="0" marR="0" marT="0" marB="0">
                    <a:lnL w="12700">
                      <a:solidFill>
                        <a:srgbClr val="000000"/>
                      </a:solidFill>
                      <a:prstDash val="solid"/>
                    </a:lnL>
                    <a:lnR w="12700">
                      <a:solidFill>
                        <a:srgbClr val="000000"/>
                      </a:solidFill>
                      <a:prstDash val="solid"/>
                    </a:lnR>
                  </a:tcPr>
                </a:tc>
                <a:tc>
                  <a:txBody>
                    <a:bodyPr/>
                    <a:lstStyle/>
                    <a:p>
                      <a:pPr marL="857885">
                        <a:lnSpc>
                          <a:spcPts val="2400"/>
                        </a:lnSpc>
                      </a:pPr>
                      <a:r>
                        <a:rPr sz="2000" dirty="0">
                          <a:latin typeface="Calibri" panose="020F0502020204030204" pitchFamily="34" charset="0"/>
                          <a:cs typeface="Microsoft Uighur"/>
                        </a:rPr>
                        <a:t>30</a:t>
                      </a: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spc="-5" dirty="0">
                          <a:latin typeface="Calibri" panose="020F0502020204030204" pitchFamily="34" charset="0"/>
                          <a:cs typeface="Microsoft Uighur"/>
                        </a:rPr>
                        <a:t>315</a:t>
                      </a:r>
                      <a:endParaRPr sz="2000" dirty="0">
                        <a:latin typeface="Calibri" panose="020F0502020204030204" pitchFamily="34" charset="0"/>
                        <a:cs typeface="Microsoft Uighur"/>
                      </a:endParaRPr>
                    </a:p>
                  </a:txBody>
                  <a:tcPr marL="0" marR="0" marT="0" marB="0">
                    <a:lnL w="12700">
                      <a:solidFill>
                        <a:srgbClr val="000000"/>
                      </a:solidFill>
                      <a:prstDash val="solid"/>
                    </a:lnL>
                  </a:tcPr>
                </a:tc>
                <a:extLst>
                  <a:ext uri="{0D108BD9-81ED-4DB2-BD59-A6C34878D82A}">
                    <a16:rowId xmlns:a16="http://schemas.microsoft.com/office/drawing/2014/main" val="10003"/>
                  </a:ext>
                </a:extLst>
              </a:tr>
              <a:tr h="325259">
                <a:tc>
                  <a:txBody>
                    <a:bodyPr/>
                    <a:lstStyle/>
                    <a:p>
                      <a:pPr marR="593725" algn="r">
                        <a:lnSpc>
                          <a:spcPts val="2400"/>
                        </a:lnSpc>
                      </a:pPr>
                      <a:r>
                        <a:rPr sz="2000" dirty="0">
                          <a:latin typeface="Calibri" panose="020F0502020204030204" pitchFamily="34" charset="0"/>
                          <a:cs typeface="Microsoft Uighur"/>
                        </a:rPr>
                        <a:t>852</a:t>
                      </a:r>
                    </a:p>
                  </a:txBody>
                  <a:tcPr marL="0" marR="0" marT="0" marB="0">
                    <a:lnR w="12700">
                      <a:solidFill>
                        <a:srgbClr val="000000"/>
                      </a:solidFill>
                      <a:prstDash val="solid"/>
                    </a:lnR>
                  </a:tcPr>
                </a:tc>
                <a:tc>
                  <a:txBody>
                    <a:bodyPr/>
                    <a:lstStyle/>
                    <a:p>
                      <a:pPr marR="692785" algn="r">
                        <a:lnSpc>
                          <a:spcPts val="2400"/>
                        </a:lnSpc>
                      </a:pPr>
                      <a:r>
                        <a:rPr sz="2000" dirty="0">
                          <a:latin typeface="Calibri" panose="020F0502020204030204" pitchFamily="34" charset="0"/>
                          <a:cs typeface="Microsoft Uighur"/>
                        </a:rPr>
                        <a:t>2</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dirty="0">
                          <a:latin typeface="Calibri" panose="020F0502020204030204" pitchFamily="34" charset="0"/>
                          <a:cs typeface="Microsoft Uighur"/>
                        </a:rPr>
                        <a:t>1</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marL="859155">
                        <a:lnSpc>
                          <a:spcPts val="2400"/>
                        </a:lnSpc>
                      </a:pPr>
                      <a:r>
                        <a:rPr sz="2000" dirty="0">
                          <a:latin typeface="Calibri" panose="020F0502020204030204" pitchFamily="34" charset="0"/>
                          <a:cs typeface="Microsoft Uighur"/>
                        </a:rPr>
                        <a:t>36</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dirty="0">
                          <a:latin typeface="Calibri" panose="020F0502020204030204" pitchFamily="34" charset="0"/>
                          <a:cs typeface="Microsoft Uighur"/>
                        </a:rPr>
                        <a:t>178</a:t>
                      </a:r>
                    </a:p>
                  </a:txBody>
                  <a:tcPr marL="0" marR="0" marT="0" marB="0">
                    <a:lnL w="12700">
                      <a:solidFill>
                        <a:srgbClr val="000000"/>
                      </a:solidFill>
                      <a:prstDash val="solid"/>
                    </a:lnL>
                  </a:tcPr>
                </a:tc>
                <a:extLst>
                  <a:ext uri="{0D108BD9-81ED-4DB2-BD59-A6C34878D82A}">
                    <a16:rowId xmlns:a16="http://schemas.microsoft.com/office/drawing/2014/main" val="10004"/>
                  </a:ext>
                </a:extLst>
              </a:tr>
              <a:tr h="325259">
                <a:tc>
                  <a:txBody>
                    <a:bodyPr/>
                    <a:lstStyle/>
                    <a:p>
                      <a:pPr marL="5080" algn="ctr">
                        <a:lnSpc>
                          <a:spcPts val="2400"/>
                        </a:lnSpc>
                      </a:pPr>
                      <a:r>
                        <a:rPr sz="2000" dirty="0">
                          <a:latin typeface="Calibri" panose="020F0502020204030204" pitchFamily="34" charset="0"/>
                          <a:cs typeface="Microsoft Uighur"/>
                        </a:rPr>
                        <a:t>…</a:t>
                      </a:r>
                      <a:endParaRPr sz="2000">
                        <a:latin typeface="Calibri" panose="020F0502020204030204" pitchFamily="34" charset="0"/>
                        <a:cs typeface="Microsoft Uighur"/>
                      </a:endParaRPr>
                    </a:p>
                  </a:txBody>
                  <a:tcPr marL="0" marR="0" marT="0" marB="0">
                    <a:lnR w="12700">
                      <a:solidFill>
                        <a:srgbClr val="000000"/>
                      </a:solidFill>
                      <a:prstDash val="solid"/>
                    </a:lnR>
                  </a:tcPr>
                </a:tc>
                <a:tc>
                  <a:txBody>
                    <a:bodyPr/>
                    <a:lstStyle/>
                    <a:p>
                      <a:pPr marR="659765" algn="r">
                        <a:lnSpc>
                          <a:spcPts val="2400"/>
                        </a:lnSpc>
                      </a:pPr>
                      <a:r>
                        <a:rPr sz="2000" dirty="0">
                          <a:latin typeface="Calibri" panose="020F0502020204030204" pitchFamily="34" charset="0"/>
                          <a:cs typeface="Microsoft Uighur"/>
                        </a:rPr>
                        <a:t>…</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dirty="0">
                          <a:latin typeface="Calibri" panose="020F0502020204030204" pitchFamily="34" charset="0"/>
                          <a:cs typeface="Microsoft Uighur"/>
                        </a:rPr>
                        <a:t>…</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marL="869950">
                        <a:lnSpc>
                          <a:spcPts val="2400"/>
                        </a:lnSpc>
                      </a:pPr>
                      <a:r>
                        <a:rPr sz="2000" dirty="0">
                          <a:latin typeface="Calibri" panose="020F0502020204030204" pitchFamily="34" charset="0"/>
                          <a:cs typeface="Microsoft Uighur"/>
                        </a:rPr>
                        <a:t>…</a:t>
                      </a:r>
                      <a:endParaRPr sz="2000">
                        <a:latin typeface="Calibri" panose="020F0502020204030204" pitchFamily="34" charset="0"/>
                        <a:cs typeface="Microsoft Uighur"/>
                      </a:endParaRPr>
                    </a:p>
                  </a:txBody>
                  <a:tcPr marL="0" marR="0" marT="0" marB="0">
                    <a:lnL w="12700">
                      <a:solidFill>
                        <a:srgbClr val="000000"/>
                      </a:solidFill>
                      <a:prstDash val="solid"/>
                    </a:lnL>
                    <a:lnR w="12700">
                      <a:solidFill>
                        <a:srgbClr val="000000"/>
                      </a:solidFill>
                      <a:prstDash val="solid"/>
                    </a:lnR>
                  </a:tcPr>
                </a:tc>
                <a:tc>
                  <a:txBody>
                    <a:bodyPr/>
                    <a:lstStyle/>
                    <a:p>
                      <a:pPr algn="ctr">
                        <a:lnSpc>
                          <a:spcPts val="2400"/>
                        </a:lnSpc>
                      </a:pPr>
                      <a:r>
                        <a:rPr sz="2000" dirty="0">
                          <a:latin typeface="Calibri" panose="020F0502020204030204" pitchFamily="34" charset="0"/>
                          <a:cs typeface="Microsoft Uighur"/>
                        </a:rPr>
                        <a:t>…</a:t>
                      </a:r>
                    </a:p>
                  </a:txBody>
                  <a:tcPr marL="0" marR="0" marT="0" marB="0">
                    <a:lnL w="12700">
                      <a:solidFill>
                        <a:srgbClr val="000000"/>
                      </a:solidFill>
                      <a:prstDash val="solid"/>
                    </a:lnL>
                  </a:tcPr>
                </a:tc>
                <a:extLst>
                  <a:ext uri="{0D108BD9-81ED-4DB2-BD59-A6C34878D82A}">
                    <a16:rowId xmlns:a16="http://schemas.microsoft.com/office/drawing/2014/main" val="10005"/>
                  </a:ext>
                </a:extLst>
              </a:tr>
            </a:tbl>
          </a:graphicData>
        </a:graphic>
      </p:graphicFrame>
      <p:sp>
        <p:nvSpPr>
          <p:cNvPr id="10" name="object 10"/>
          <p:cNvSpPr/>
          <p:nvPr/>
        </p:nvSpPr>
        <p:spPr>
          <a:xfrm>
            <a:off x="2492671" y="5043113"/>
            <a:ext cx="136677" cy="112030"/>
          </a:xfrm>
          <a:prstGeom prst="rect">
            <a:avLst/>
          </a:prstGeom>
          <a:blipFill>
            <a:blip r:embed="rId2" cstate="print"/>
            <a:stretch>
              <a:fillRect/>
            </a:stretch>
          </a:blipFill>
        </p:spPr>
        <p:txBody>
          <a:bodyPr wrap="square" lIns="0" tIns="0" rIns="0" bIns="0" rtlCol="0"/>
          <a:lstStyle/>
          <a:p>
            <a:pPr defTabSz="912754"/>
            <a:endParaRPr sz="2396">
              <a:solidFill>
                <a:prstClr val="black"/>
              </a:solidFill>
            </a:endParaRPr>
          </a:p>
        </p:txBody>
      </p:sp>
      <p:sp>
        <p:nvSpPr>
          <p:cNvPr id="11" name="object 11"/>
          <p:cNvSpPr/>
          <p:nvPr/>
        </p:nvSpPr>
        <p:spPr>
          <a:xfrm>
            <a:off x="2398567" y="5286218"/>
            <a:ext cx="343932" cy="225180"/>
          </a:xfrm>
          <a:prstGeom prst="rect">
            <a:avLst/>
          </a:prstGeom>
          <a:blipFill>
            <a:blip r:embed="rId3" cstate="print"/>
            <a:stretch>
              <a:fillRect/>
            </a:stretch>
          </a:blipFill>
        </p:spPr>
        <p:txBody>
          <a:bodyPr wrap="square" lIns="0" tIns="0" rIns="0" bIns="0" rtlCol="0"/>
          <a:lstStyle/>
          <a:p>
            <a:pPr defTabSz="912754"/>
            <a:endParaRPr sz="2396">
              <a:solidFill>
                <a:prstClr val="black"/>
              </a:solidFill>
            </a:endParaRPr>
          </a:p>
        </p:txBody>
      </p:sp>
      <p:sp>
        <p:nvSpPr>
          <p:cNvPr id="12" name="object 12"/>
          <p:cNvSpPr/>
          <p:nvPr/>
        </p:nvSpPr>
        <p:spPr>
          <a:xfrm>
            <a:off x="2398567" y="5639112"/>
            <a:ext cx="343932" cy="367459"/>
          </a:xfrm>
          <a:prstGeom prst="rect">
            <a:avLst/>
          </a:prstGeom>
          <a:blipFill>
            <a:blip r:embed="rId4" cstate="print"/>
            <a:stretch>
              <a:fillRect/>
            </a:stretch>
          </a:blipFill>
        </p:spPr>
        <p:txBody>
          <a:bodyPr wrap="square" lIns="0" tIns="0" rIns="0" bIns="0" rtlCol="0"/>
          <a:lstStyle/>
          <a:p>
            <a:pPr defTabSz="912754"/>
            <a:endParaRPr sz="2396">
              <a:solidFill>
                <a:prstClr val="black"/>
              </a:solidFill>
            </a:endParaRPr>
          </a:p>
        </p:txBody>
      </p:sp>
      <p:sp>
        <p:nvSpPr>
          <p:cNvPr id="13" name="object 13"/>
          <p:cNvSpPr/>
          <p:nvPr/>
        </p:nvSpPr>
        <p:spPr>
          <a:xfrm>
            <a:off x="4200275" y="5279192"/>
            <a:ext cx="263269" cy="212857"/>
          </a:xfrm>
          <a:prstGeom prst="rect">
            <a:avLst/>
          </a:prstGeom>
          <a:blipFill>
            <a:blip r:embed="rId5" cstate="print"/>
            <a:stretch>
              <a:fillRect/>
            </a:stretch>
          </a:blipFill>
        </p:spPr>
        <p:txBody>
          <a:bodyPr wrap="square" lIns="0" tIns="0" rIns="0" bIns="0" rtlCol="0"/>
          <a:lstStyle/>
          <a:p>
            <a:pPr defTabSz="912754"/>
            <a:endParaRPr sz="2396">
              <a:solidFill>
                <a:prstClr val="black"/>
              </a:solidFill>
            </a:endParaRPr>
          </a:p>
        </p:txBody>
      </p:sp>
      <p:sp>
        <p:nvSpPr>
          <p:cNvPr id="14" name="object 14"/>
          <p:cNvSpPr/>
          <p:nvPr/>
        </p:nvSpPr>
        <p:spPr>
          <a:xfrm>
            <a:off x="4141492" y="5729082"/>
            <a:ext cx="263269" cy="212856"/>
          </a:xfrm>
          <a:prstGeom prst="rect">
            <a:avLst/>
          </a:prstGeom>
          <a:blipFill>
            <a:blip r:embed="rId5" cstate="print"/>
            <a:stretch>
              <a:fillRect/>
            </a:stretch>
          </a:blipFill>
        </p:spPr>
        <p:txBody>
          <a:bodyPr wrap="square" lIns="0" tIns="0" rIns="0" bIns="0" rtlCol="0"/>
          <a:lstStyle/>
          <a:p>
            <a:pPr defTabSz="912754"/>
            <a:endParaRPr sz="2396">
              <a:solidFill>
                <a:prstClr val="black"/>
              </a:solidFill>
            </a:endParaRPr>
          </a:p>
        </p:txBody>
      </p:sp>
      <p:sp>
        <p:nvSpPr>
          <p:cNvPr id="15" name="object 15"/>
          <p:cNvSpPr/>
          <p:nvPr/>
        </p:nvSpPr>
        <p:spPr>
          <a:xfrm>
            <a:off x="3964562" y="5834950"/>
            <a:ext cx="103067" cy="213977"/>
          </a:xfrm>
          <a:prstGeom prst="rect">
            <a:avLst/>
          </a:prstGeom>
          <a:blipFill>
            <a:blip r:embed="rId6" cstate="print"/>
            <a:stretch>
              <a:fillRect/>
            </a:stretch>
          </a:blipFill>
        </p:spPr>
        <p:txBody>
          <a:bodyPr wrap="square" lIns="0" tIns="0" rIns="0" bIns="0" rtlCol="0"/>
          <a:lstStyle/>
          <a:p>
            <a:pPr defTabSz="912754"/>
            <a:endParaRPr sz="2396">
              <a:solidFill>
                <a:prstClr val="black"/>
              </a:solidFill>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14</a:t>
            </a:fld>
            <a:endParaRPr lang="en-US"/>
          </a:p>
        </p:txBody>
      </p:sp>
    </p:spTree>
    <p:extLst>
      <p:ext uri="{BB962C8B-B14F-4D97-AF65-F5344CB8AC3E}">
        <p14:creationId xmlns:p14="http://schemas.microsoft.com/office/powerpoint/2010/main" val="16989402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1480" y="2056695"/>
            <a:ext cx="5752737" cy="350654"/>
          </a:xfrm>
          <a:prstGeom prst="rect">
            <a:avLst/>
          </a:prstGeom>
          <a:blipFill>
            <a:blip r:embed="rId3" cstate="print"/>
            <a:stretch>
              <a:fillRect/>
            </a:stretch>
          </a:blipFill>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3" name="object 3"/>
          <p:cNvSpPr txBox="1"/>
          <p:nvPr/>
        </p:nvSpPr>
        <p:spPr>
          <a:xfrm>
            <a:off x="1070573" y="2468993"/>
            <a:ext cx="4937730" cy="276999"/>
          </a:xfrm>
          <a:prstGeom prst="rect">
            <a:avLst/>
          </a:prstGeom>
        </p:spPr>
        <p:txBody>
          <a:bodyPr vert="horz" wrap="square" lIns="0" tIns="0" rIns="0" bIns="0" rtlCol="0">
            <a:spAutoFit/>
          </a:bodyPr>
          <a:lstStyle/>
          <a:p>
            <a:pPr marL="9337" defTabSz="912754"/>
            <a:r>
              <a:rPr dirty="0">
                <a:solidFill>
                  <a:prstClr val="black"/>
                </a:solidFill>
                <a:latin typeface="Segoe UI Light" panose="020B0502040204020203" pitchFamily="34" charset="0"/>
                <a:cs typeface="Segoe UI Light" panose="020B0502040204020203" pitchFamily="34" charset="0"/>
              </a:rPr>
              <a:t>For </a:t>
            </a:r>
            <a:r>
              <a:rPr spc="-4" dirty="0">
                <a:solidFill>
                  <a:prstClr val="black"/>
                </a:solidFill>
                <a:latin typeface="Segoe UI Light" panose="020B0502040204020203" pitchFamily="34" charset="0"/>
                <a:cs typeface="Segoe UI Light" panose="020B0502040204020203" pitchFamily="34" charset="0"/>
              </a:rPr>
              <a:t>convenience </a:t>
            </a:r>
            <a:r>
              <a:rPr spc="-26" dirty="0">
                <a:solidFill>
                  <a:prstClr val="black"/>
                </a:solidFill>
                <a:latin typeface="Segoe UI Light" panose="020B0502040204020203" pitchFamily="34" charset="0"/>
                <a:cs typeface="Segoe UI Light" panose="020B0502040204020203" pitchFamily="34" charset="0"/>
              </a:rPr>
              <a:t>of </a:t>
            </a:r>
            <a:r>
              <a:rPr spc="-4" dirty="0">
                <a:solidFill>
                  <a:prstClr val="black"/>
                </a:solidFill>
                <a:latin typeface="Segoe UI Light" panose="020B0502040204020203" pitchFamily="34" charset="0"/>
                <a:cs typeface="Segoe UI Light" panose="020B0502040204020203" pitchFamily="34" charset="0"/>
              </a:rPr>
              <a:t>notation,</a:t>
            </a:r>
            <a:r>
              <a:rPr spc="7" dirty="0">
                <a:solidFill>
                  <a:prstClr val="black"/>
                </a:solidFill>
                <a:latin typeface="Segoe UI Light" panose="020B0502040204020203" pitchFamily="34" charset="0"/>
                <a:cs typeface="Segoe UI Light" panose="020B0502040204020203" pitchFamily="34" charset="0"/>
              </a:rPr>
              <a:t> </a:t>
            </a:r>
            <a:r>
              <a:rPr spc="-4" dirty="0">
                <a:solidFill>
                  <a:prstClr val="black"/>
                </a:solidFill>
                <a:latin typeface="Segoe UI Light" panose="020B0502040204020203" pitchFamily="34" charset="0"/>
                <a:cs typeface="Segoe UI Light" panose="020B0502040204020203" pitchFamily="34" charset="0"/>
              </a:rPr>
              <a:t>define</a:t>
            </a:r>
            <a:endParaRPr dirty="0">
              <a:solidFill>
                <a:prstClr val="black"/>
              </a:solidFill>
              <a:latin typeface="Segoe UI Light" panose="020B0502040204020203" pitchFamily="34" charset="0"/>
              <a:cs typeface="Segoe UI Light" panose="020B0502040204020203" pitchFamily="34" charset="0"/>
            </a:endParaRPr>
          </a:p>
        </p:txBody>
      </p:sp>
      <p:sp>
        <p:nvSpPr>
          <p:cNvPr id="4" name="object 4"/>
          <p:cNvSpPr/>
          <p:nvPr/>
        </p:nvSpPr>
        <p:spPr>
          <a:xfrm>
            <a:off x="5830952" y="2508204"/>
            <a:ext cx="956735" cy="290157"/>
          </a:xfrm>
          <a:prstGeom prst="rect">
            <a:avLst/>
          </a:prstGeom>
          <a:blipFill>
            <a:blip r:embed="rId4" cstate="print"/>
            <a:stretch>
              <a:fillRect/>
            </a:stretch>
          </a:blipFill>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5" name="object 5"/>
          <p:cNvSpPr txBox="1"/>
          <p:nvPr/>
        </p:nvSpPr>
        <p:spPr>
          <a:xfrm>
            <a:off x="917113" y="5164055"/>
            <a:ext cx="6616749" cy="276999"/>
          </a:xfrm>
          <a:prstGeom prst="rect">
            <a:avLst/>
          </a:prstGeom>
        </p:spPr>
        <p:txBody>
          <a:bodyPr vert="horz" wrap="square" lIns="0" tIns="0" rIns="0" bIns="0" rtlCol="0">
            <a:spAutoFit/>
          </a:bodyPr>
          <a:lstStyle/>
          <a:p>
            <a:pPr marL="9337" defTabSz="912754"/>
            <a:r>
              <a:rPr spc="-7" dirty="0">
                <a:solidFill>
                  <a:prstClr val="black"/>
                </a:solidFill>
                <a:latin typeface="Segoe UI Light" panose="020B0502040204020203" pitchFamily="34" charset="0"/>
                <a:cs typeface="Segoe UI Light" panose="020B0502040204020203" pitchFamily="34" charset="0"/>
              </a:rPr>
              <a:t>h</a:t>
            </a:r>
            <a:r>
              <a:rPr spc="-11" baseline="-20833" dirty="0">
                <a:solidFill>
                  <a:prstClr val="black"/>
                </a:solidFill>
                <a:latin typeface="Segoe UI Light" panose="020B0502040204020203" pitchFamily="34" charset="0"/>
                <a:cs typeface="Segoe UI Light" panose="020B0502040204020203" pitchFamily="34" charset="0"/>
              </a:rPr>
              <a:t>θ</a:t>
            </a:r>
            <a:r>
              <a:rPr spc="-7" dirty="0">
                <a:solidFill>
                  <a:prstClr val="black"/>
                </a:solidFill>
                <a:latin typeface="Segoe UI Light" panose="020B0502040204020203" pitchFamily="34" charset="0"/>
                <a:cs typeface="Segoe UI Light" panose="020B0502040204020203" pitchFamily="34" charset="0"/>
              </a:rPr>
              <a:t>(x) </a:t>
            </a:r>
            <a:r>
              <a:rPr dirty="0">
                <a:solidFill>
                  <a:prstClr val="black"/>
                </a:solidFill>
                <a:latin typeface="Segoe UI Light" panose="020B0502040204020203" pitchFamily="34" charset="0"/>
                <a:cs typeface="Segoe UI Light" panose="020B0502040204020203" pitchFamily="34" charset="0"/>
              </a:rPr>
              <a:t>= </a:t>
            </a:r>
            <a:r>
              <a:rPr spc="-4" dirty="0">
                <a:solidFill>
                  <a:prstClr val="black"/>
                </a:solidFill>
                <a:latin typeface="Segoe UI Light" panose="020B0502040204020203" pitchFamily="34" charset="0"/>
                <a:cs typeface="Segoe UI Light" panose="020B0502040204020203" pitchFamily="34" charset="0"/>
              </a:rPr>
              <a:t>θ</a:t>
            </a:r>
            <a:r>
              <a:rPr spc="-5" baseline="-20833" dirty="0">
                <a:solidFill>
                  <a:prstClr val="black"/>
                </a:solidFill>
                <a:latin typeface="Segoe UI Light" panose="020B0502040204020203" pitchFamily="34" charset="0"/>
                <a:cs typeface="Segoe UI Light" panose="020B0502040204020203" pitchFamily="34" charset="0"/>
              </a:rPr>
              <a:t>0</a:t>
            </a:r>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0 </a:t>
            </a:r>
            <a:r>
              <a:rPr dirty="0">
                <a:solidFill>
                  <a:prstClr val="black"/>
                </a:solidFill>
                <a:latin typeface="Segoe UI Light" panose="020B0502040204020203" pitchFamily="34" charset="0"/>
                <a:cs typeface="Segoe UI Light" panose="020B0502040204020203" pitchFamily="34" charset="0"/>
              </a:rPr>
              <a:t>+ </a:t>
            </a:r>
            <a:r>
              <a:rPr spc="92" dirty="0">
                <a:solidFill>
                  <a:prstClr val="black"/>
                </a:solidFill>
                <a:latin typeface="Segoe UI Light" panose="020B0502040204020203" pitchFamily="34" charset="0"/>
                <a:cs typeface="Segoe UI Light" panose="020B0502040204020203" pitchFamily="34" charset="0"/>
              </a:rPr>
              <a:t>θ</a:t>
            </a:r>
            <a:r>
              <a:rPr spc="138" baseline="-20833" dirty="0">
                <a:solidFill>
                  <a:prstClr val="black"/>
                </a:solidFill>
                <a:latin typeface="Segoe UI Light" panose="020B0502040204020203" pitchFamily="34" charset="0"/>
                <a:cs typeface="Segoe UI Light" panose="020B0502040204020203" pitchFamily="34" charset="0"/>
              </a:rPr>
              <a:t>1 </a:t>
            </a:r>
            <a:r>
              <a:rPr spc="88" dirty="0">
                <a:solidFill>
                  <a:prstClr val="black"/>
                </a:solidFill>
                <a:latin typeface="Segoe UI Light" panose="020B0502040204020203" pitchFamily="34" charset="0"/>
                <a:cs typeface="Segoe UI Light" panose="020B0502040204020203" pitchFamily="34" charset="0"/>
              </a:rPr>
              <a:t>x</a:t>
            </a:r>
            <a:r>
              <a:rPr spc="132" baseline="-20833" dirty="0">
                <a:solidFill>
                  <a:prstClr val="black"/>
                </a:solidFill>
                <a:latin typeface="Segoe UI Light" panose="020B0502040204020203" pitchFamily="34" charset="0"/>
                <a:cs typeface="Segoe UI Light" panose="020B0502040204020203" pitchFamily="34" charset="0"/>
              </a:rPr>
              <a:t>1 </a:t>
            </a:r>
            <a:r>
              <a:rPr dirty="0">
                <a:solidFill>
                  <a:prstClr val="black"/>
                </a:solidFill>
                <a:latin typeface="Segoe UI Light" panose="020B0502040204020203" pitchFamily="34" charset="0"/>
                <a:cs typeface="Segoe UI Light" panose="020B0502040204020203" pitchFamily="34" charset="0"/>
              </a:rPr>
              <a:t>+ </a:t>
            </a:r>
            <a:r>
              <a:rPr spc="-4" dirty="0">
                <a:solidFill>
                  <a:prstClr val="black"/>
                </a:solidFill>
                <a:latin typeface="Segoe UI Light" panose="020B0502040204020203" pitchFamily="34" charset="0"/>
                <a:cs typeface="Segoe UI Light" panose="020B0502040204020203" pitchFamily="34" charset="0"/>
              </a:rPr>
              <a:t>θ</a:t>
            </a:r>
            <a:r>
              <a:rPr spc="-5" baseline="-20833" dirty="0">
                <a:solidFill>
                  <a:prstClr val="black"/>
                </a:solidFill>
                <a:latin typeface="Segoe UI Light" panose="020B0502040204020203" pitchFamily="34" charset="0"/>
                <a:cs typeface="Segoe UI Light" panose="020B0502040204020203" pitchFamily="34" charset="0"/>
              </a:rPr>
              <a:t>2 </a:t>
            </a:r>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2 </a:t>
            </a:r>
            <a:r>
              <a:rPr dirty="0">
                <a:solidFill>
                  <a:prstClr val="black"/>
                </a:solidFill>
                <a:latin typeface="Segoe UI Light" panose="020B0502040204020203" pitchFamily="34" charset="0"/>
                <a:cs typeface="Segoe UI Light" panose="020B0502040204020203" pitchFamily="34" charset="0"/>
              </a:rPr>
              <a:t>+ </a:t>
            </a:r>
            <a:r>
              <a:rPr spc="-4" dirty="0">
                <a:solidFill>
                  <a:prstClr val="black"/>
                </a:solidFill>
                <a:latin typeface="Segoe UI Light" panose="020B0502040204020203" pitchFamily="34" charset="0"/>
                <a:cs typeface="Segoe UI Light" panose="020B0502040204020203" pitchFamily="34" charset="0"/>
              </a:rPr>
              <a:t>θ</a:t>
            </a:r>
            <a:r>
              <a:rPr spc="-5" baseline="-20833" dirty="0">
                <a:solidFill>
                  <a:prstClr val="black"/>
                </a:solidFill>
                <a:latin typeface="Segoe UI Light" panose="020B0502040204020203" pitchFamily="34" charset="0"/>
                <a:cs typeface="Segoe UI Light" panose="020B0502040204020203" pitchFamily="34" charset="0"/>
              </a:rPr>
              <a:t>3 </a:t>
            </a:r>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3</a:t>
            </a:r>
            <a:r>
              <a:rPr spc="-4" dirty="0">
                <a:solidFill>
                  <a:prstClr val="black"/>
                </a:solidFill>
                <a:latin typeface="Segoe UI Light" panose="020B0502040204020203" pitchFamily="34" charset="0"/>
                <a:cs typeface="Segoe UI Light" panose="020B0502040204020203" pitchFamily="34" charset="0"/>
              </a:rPr>
              <a:t>+</a:t>
            </a:r>
            <a:r>
              <a:rPr spc="-261" dirty="0">
                <a:solidFill>
                  <a:prstClr val="black"/>
                </a:solidFill>
                <a:latin typeface="Segoe UI Light" panose="020B0502040204020203" pitchFamily="34" charset="0"/>
                <a:cs typeface="Segoe UI Light" panose="020B0502040204020203" pitchFamily="34" charset="0"/>
              </a:rPr>
              <a:t> </a:t>
            </a:r>
            <a:r>
              <a:rPr spc="-11" dirty="0">
                <a:solidFill>
                  <a:prstClr val="black"/>
                </a:solidFill>
                <a:latin typeface="Segoe UI Light" panose="020B0502040204020203" pitchFamily="34" charset="0"/>
                <a:cs typeface="Segoe UI Light" panose="020B0502040204020203" pitchFamily="34" charset="0"/>
              </a:rPr>
              <a:t>θ</a:t>
            </a:r>
            <a:r>
              <a:rPr spc="-16" baseline="-20833" dirty="0">
                <a:solidFill>
                  <a:prstClr val="black"/>
                </a:solidFill>
                <a:latin typeface="Segoe UI Light" panose="020B0502040204020203" pitchFamily="34" charset="0"/>
                <a:cs typeface="Segoe UI Light" panose="020B0502040204020203" pitchFamily="34" charset="0"/>
              </a:rPr>
              <a:t>4 </a:t>
            </a:r>
            <a:r>
              <a:rPr spc="-15" dirty="0">
                <a:solidFill>
                  <a:prstClr val="black"/>
                </a:solidFill>
                <a:latin typeface="Segoe UI Light" panose="020B0502040204020203" pitchFamily="34" charset="0"/>
                <a:cs typeface="Segoe UI Light" panose="020B0502040204020203" pitchFamily="34" charset="0"/>
              </a:rPr>
              <a:t>x</a:t>
            </a:r>
            <a:r>
              <a:rPr spc="-22" baseline="-20833" dirty="0">
                <a:solidFill>
                  <a:prstClr val="black"/>
                </a:solidFill>
                <a:latin typeface="Segoe UI Light" panose="020B0502040204020203" pitchFamily="34" charset="0"/>
                <a:cs typeface="Segoe UI Light" panose="020B0502040204020203" pitchFamily="34" charset="0"/>
              </a:rPr>
              <a:t>4</a:t>
            </a:r>
            <a:endParaRPr baseline="-20833" dirty="0">
              <a:solidFill>
                <a:prstClr val="black"/>
              </a:solidFill>
              <a:latin typeface="Segoe UI Light" panose="020B0502040204020203" pitchFamily="34" charset="0"/>
              <a:cs typeface="Segoe UI Light" panose="020B0502040204020203" pitchFamily="34" charset="0"/>
            </a:endParaRPr>
          </a:p>
        </p:txBody>
      </p:sp>
      <p:sp>
        <p:nvSpPr>
          <p:cNvPr id="6" name="object 6"/>
          <p:cNvSpPr txBox="1"/>
          <p:nvPr/>
        </p:nvSpPr>
        <p:spPr>
          <a:xfrm>
            <a:off x="918853" y="5655925"/>
            <a:ext cx="4906896" cy="276999"/>
          </a:xfrm>
          <a:prstGeom prst="rect">
            <a:avLst/>
          </a:prstGeom>
        </p:spPr>
        <p:txBody>
          <a:bodyPr vert="horz" wrap="square" lIns="0" tIns="0" rIns="0" bIns="0" rtlCol="0">
            <a:spAutoFit/>
          </a:bodyPr>
          <a:lstStyle/>
          <a:p>
            <a:pPr marL="9337" defTabSz="912754">
              <a:spcBef>
                <a:spcPts val="1400"/>
              </a:spcBef>
            </a:pPr>
            <a:r>
              <a:rPr spc="-4" dirty="0">
                <a:solidFill>
                  <a:prstClr val="black"/>
                </a:solidFill>
                <a:latin typeface="Segoe UI Light" panose="020B0502040204020203" pitchFamily="34" charset="0"/>
                <a:cs typeface="Segoe UI Light" panose="020B0502040204020203" pitchFamily="34" charset="0"/>
              </a:rPr>
              <a:t>Multivariate linear</a:t>
            </a:r>
            <a:r>
              <a:rPr spc="-18" dirty="0">
                <a:solidFill>
                  <a:prstClr val="black"/>
                </a:solidFill>
                <a:latin typeface="Segoe UI Light" panose="020B0502040204020203" pitchFamily="34" charset="0"/>
                <a:cs typeface="Segoe UI Light" panose="020B0502040204020203" pitchFamily="34" charset="0"/>
              </a:rPr>
              <a:t> </a:t>
            </a:r>
            <a:r>
              <a:rPr spc="-11" dirty="0">
                <a:solidFill>
                  <a:prstClr val="black"/>
                </a:solidFill>
                <a:latin typeface="Segoe UI Light" panose="020B0502040204020203" pitchFamily="34" charset="0"/>
                <a:cs typeface="Segoe UI Light" panose="020B0502040204020203" pitchFamily="34" charset="0"/>
              </a:rPr>
              <a:t>regression</a:t>
            </a:r>
            <a:r>
              <a:rPr lang="en-US" spc="-11" dirty="0">
                <a:solidFill>
                  <a:prstClr val="black"/>
                </a:solidFill>
                <a:latin typeface="Segoe UI Light" panose="020B0502040204020203" pitchFamily="34" charset="0"/>
                <a:cs typeface="Segoe UI Light" panose="020B0502040204020203" pitchFamily="34" charset="0"/>
              </a:rPr>
              <a:t> </a:t>
            </a:r>
            <a:r>
              <a:rPr lang="el-GR" dirty="0">
                <a:solidFill>
                  <a:prstClr val="black"/>
                </a:solidFill>
                <a:latin typeface="Segoe UI Light" panose="020B0502040204020203" pitchFamily="34" charset="0"/>
                <a:cs typeface="Segoe UI Light" panose="020B0502040204020203" pitchFamily="34" charset="0"/>
              </a:rPr>
              <a:t> = </a:t>
            </a:r>
            <a:r>
              <a:rPr lang="el-GR" spc="-4" dirty="0">
                <a:solidFill>
                  <a:prstClr val="black"/>
                </a:solidFill>
                <a:latin typeface="Segoe UI Light" panose="020B0502040204020203" pitchFamily="34" charset="0"/>
                <a:cs typeface="Segoe UI Light" panose="020B0502040204020203" pitchFamily="34" charset="0"/>
              </a:rPr>
              <a:t>θ</a:t>
            </a:r>
            <a:r>
              <a:rPr lang="en-US" spc="-5" baseline="24305" dirty="0">
                <a:solidFill>
                  <a:prstClr val="black"/>
                </a:solidFill>
                <a:latin typeface="Segoe UI Light" panose="020B0502040204020203" pitchFamily="34" charset="0"/>
                <a:cs typeface="Segoe UI Light" panose="020B0502040204020203" pitchFamily="34" charset="0"/>
              </a:rPr>
              <a:t>T</a:t>
            </a:r>
            <a:r>
              <a:rPr lang="en-US" spc="-99" baseline="24305" dirty="0">
                <a:solidFill>
                  <a:prstClr val="black"/>
                </a:solidFill>
                <a:latin typeface="Segoe UI Light" panose="020B0502040204020203" pitchFamily="34" charset="0"/>
                <a:cs typeface="Segoe UI Light" panose="020B0502040204020203" pitchFamily="34" charset="0"/>
              </a:rPr>
              <a:t> </a:t>
            </a:r>
            <a:r>
              <a:rPr lang="en-US" dirty="0">
                <a:solidFill>
                  <a:prstClr val="black"/>
                </a:solidFill>
                <a:latin typeface="Segoe UI Light" panose="020B0502040204020203" pitchFamily="34" charset="0"/>
                <a:cs typeface="Segoe UI Light" panose="020B0502040204020203" pitchFamily="34" charset="0"/>
              </a:rPr>
              <a:t>x</a:t>
            </a:r>
            <a:endParaRPr dirty="0">
              <a:solidFill>
                <a:prstClr val="black"/>
              </a:solidFill>
              <a:latin typeface="Segoe UI Light" panose="020B0502040204020203" pitchFamily="34" charset="0"/>
              <a:cs typeface="Segoe UI Light" panose="020B0502040204020203" pitchFamily="34" charset="0"/>
            </a:endParaRPr>
          </a:p>
        </p:txBody>
      </p:sp>
      <p:sp>
        <p:nvSpPr>
          <p:cNvPr id="7" name="object 7"/>
          <p:cNvSpPr/>
          <p:nvPr/>
        </p:nvSpPr>
        <p:spPr>
          <a:xfrm>
            <a:off x="2605544" y="2981384"/>
            <a:ext cx="113364" cy="2115867"/>
          </a:xfrm>
          <a:custGeom>
            <a:avLst/>
            <a:gdLst/>
            <a:ahLst/>
            <a:cxnLst/>
            <a:rect l="l" t="t" r="r" b="b"/>
            <a:pathLst>
              <a:path w="156209" h="1332229">
                <a:moveTo>
                  <a:pt x="156209" y="1331976"/>
                </a:moveTo>
                <a:lnTo>
                  <a:pt x="106850" y="1324008"/>
                </a:lnTo>
                <a:lnTo>
                  <a:pt x="63971" y="1301825"/>
                </a:lnTo>
                <a:lnTo>
                  <a:pt x="30150" y="1268004"/>
                </a:lnTo>
                <a:lnTo>
                  <a:pt x="7967" y="1225125"/>
                </a:lnTo>
                <a:lnTo>
                  <a:pt x="0" y="1175765"/>
                </a:lnTo>
                <a:lnTo>
                  <a:pt x="0" y="156209"/>
                </a:lnTo>
                <a:lnTo>
                  <a:pt x="7967" y="106850"/>
                </a:lnTo>
                <a:lnTo>
                  <a:pt x="30150" y="63971"/>
                </a:lnTo>
                <a:lnTo>
                  <a:pt x="63971" y="30150"/>
                </a:lnTo>
                <a:lnTo>
                  <a:pt x="106850" y="7967"/>
                </a:lnTo>
                <a:lnTo>
                  <a:pt x="156209" y="0"/>
                </a:lnTo>
              </a:path>
            </a:pathLst>
          </a:custGeom>
          <a:ln w="9144">
            <a:solidFill>
              <a:srgbClr val="009EDA"/>
            </a:solidFill>
          </a:ln>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8" name="object 8"/>
          <p:cNvSpPr/>
          <p:nvPr/>
        </p:nvSpPr>
        <p:spPr>
          <a:xfrm>
            <a:off x="3212239" y="2956850"/>
            <a:ext cx="51285" cy="2140401"/>
          </a:xfrm>
          <a:custGeom>
            <a:avLst/>
            <a:gdLst/>
            <a:ahLst/>
            <a:cxnLst/>
            <a:rect l="l" t="t" r="r" b="b"/>
            <a:pathLst>
              <a:path w="156210" h="1332229">
                <a:moveTo>
                  <a:pt x="0" y="0"/>
                </a:moveTo>
                <a:lnTo>
                  <a:pt x="49359" y="7967"/>
                </a:lnTo>
                <a:lnTo>
                  <a:pt x="92238" y="30150"/>
                </a:lnTo>
                <a:lnTo>
                  <a:pt x="126059" y="63971"/>
                </a:lnTo>
                <a:lnTo>
                  <a:pt x="148242" y="106850"/>
                </a:lnTo>
                <a:lnTo>
                  <a:pt x="156210" y="156209"/>
                </a:lnTo>
                <a:lnTo>
                  <a:pt x="156210" y="1175765"/>
                </a:lnTo>
                <a:lnTo>
                  <a:pt x="148242" y="1225125"/>
                </a:lnTo>
                <a:lnTo>
                  <a:pt x="126059" y="1268004"/>
                </a:lnTo>
                <a:lnTo>
                  <a:pt x="92238" y="1301825"/>
                </a:lnTo>
                <a:lnTo>
                  <a:pt x="49359" y="1324008"/>
                </a:lnTo>
                <a:lnTo>
                  <a:pt x="0" y="1331976"/>
                </a:lnTo>
              </a:path>
            </a:pathLst>
          </a:custGeom>
          <a:ln w="9143">
            <a:solidFill>
              <a:srgbClr val="009EDA"/>
            </a:solidFill>
          </a:ln>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9" name="object 9"/>
          <p:cNvSpPr txBox="1"/>
          <p:nvPr/>
        </p:nvSpPr>
        <p:spPr>
          <a:xfrm>
            <a:off x="2855353" y="2950943"/>
            <a:ext cx="321937" cy="1384995"/>
          </a:xfrm>
          <a:prstGeom prst="rect">
            <a:avLst/>
          </a:prstGeom>
        </p:spPr>
        <p:txBody>
          <a:bodyPr vert="horz" wrap="square" lIns="0" tIns="0" rIns="0" bIns="0" rtlCol="0">
            <a:spAutoFit/>
          </a:bodyPr>
          <a:lstStyle/>
          <a:p>
            <a:pPr marL="9337" marR="3734" algn="just" defTabSz="912754"/>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0  </a:t>
            </a:r>
            <a:r>
              <a:rPr spc="-4" dirty="0">
                <a:solidFill>
                  <a:prstClr val="black"/>
                </a:solidFill>
                <a:latin typeface="Segoe UI Light" panose="020B0502040204020203" pitchFamily="34" charset="0"/>
                <a:cs typeface="Segoe UI Light" panose="020B0502040204020203" pitchFamily="34" charset="0"/>
              </a:rPr>
              <a:t>x</a:t>
            </a:r>
            <a:r>
              <a:rPr spc="232" baseline="-20833" dirty="0">
                <a:solidFill>
                  <a:prstClr val="black"/>
                </a:solidFill>
                <a:latin typeface="Segoe UI Light" panose="020B0502040204020203" pitchFamily="34" charset="0"/>
                <a:cs typeface="Segoe UI Light" panose="020B0502040204020203" pitchFamily="34" charset="0"/>
              </a:rPr>
              <a:t>1  </a:t>
            </a:r>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2  </a:t>
            </a:r>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3  </a:t>
            </a:r>
            <a:r>
              <a:rPr spc="-4" dirty="0">
                <a:solidFill>
                  <a:prstClr val="black"/>
                </a:solidFill>
                <a:latin typeface="Segoe UI Light" panose="020B0502040204020203" pitchFamily="34" charset="0"/>
                <a:cs typeface="Segoe UI Light" panose="020B0502040204020203" pitchFamily="34" charset="0"/>
              </a:rPr>
              <a:t>x</a:t>
            </a:r>
            <a:r>
              <a:rPr spc="-32" baseline="-20833" dirty="0">
                <a:solidFill>
                  <a:prstClr val="black"/>
                </a:solidFill>
                <a:latin typeface="Segoe UI Light" panose="020B0502040204020203" pitchFamily="34" charset="0"/>
                <a:cs typeface="Segoe UI Light" panose="020B0502040204020203" pitchFamily="34" charset="0"/>
              </a:rPr>
              <a:t>4</a:t>
            </a:r>
            <a:endParaRPr baseline="-20833">
              <a:solidFill>
                <a:prstClr val="black"/>
              </a:solidFill>
              <a:latin typeface="Segoe UI Light" panose="020B0502040204020203" pitchFamily="34" charset="0"/>
              <a:cs typeface="Segoe UI Light" panose="020B0502040204020203" pitchFamily="34" charset="0"/>
            </a:endParaRPr>
          </a:p>
        </p:txBody>
      </p:sp>
      <p:sp>
        <p:nvSpPr>
          <p:cNvPr id="10" name="object 10"/>
          <p:cNvSpPr/>
          <p:nvPr/>
        </p:nvSpPr>
        <p:spPr>
          <a:xfrm>
            <a:off x="4541254" y="2983168"/>
            <a:ext cx="59791" cy="2114084"/>
          </a:xfrm>
          <a:custGeom>
            <a:avLst/>
            <a:gdLst/>
            <a:ahLst/>
            <a:cxnLst/>
            <a:rect l="l" t="t" r="r" b="b"/>
            <a:pathLst>
              <a:path w="156210" h="1332229">
                <a:moveTo>
                  <a:pt x="156209" y="1331976"/>
                </a:moveTo>
                <a:lnTo>
                  <a:pt x="106850" y="1324008"/>
                </a:lnTo>
                <a:lnTo>
                  <a:pt x="63971" y="1301825"/>
                </a:lnTo>
                <a:lnTo>
                  <a:pt x="30150" y="1268004"/>
                </a:lnTo>
                <a:lnTo>
                  <a:pt x="7967" y="1225125"/>
                </a:lnTo>
                <a:lnTo>
                  <a:pt x="0" y="1175765"/>
                </a:lnTo>
                <a:lnTo>
                  <a:pt x="0" y="156210"/>
                </a:lnTo>
                <a:lnTo>
                  <a:pt x="7967" y="106850"/>
                </a:lnTo>
                <a:lnTo>
                  <a:pt x="30150" y="63971"/>
                </a:lnTo>
                <a:lnTo>
                  <a:pt x="63971" y="30150"/>
                </a:lnTo>
                <a:lnTo>
                  <a:pt x="106850" y="7967"/>
                </a:lnTo>
                <a:lnTo>
                  <a:pt x="156209" y="0"/>
                </a:lnTo>
              </a:path>
            </a:pathLst>
          </a:custGeom>
          <a:ln w="9144">
            <a:solidFill>
              <a:srgbClr val="009EDA"/>
            </a:solidFill>
          </a:ln>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11" name="object 11"/>
          <p:cNvSpPr/>
          <p:nvPr/>
        </p:nvSpPr>
        <p:spPr>
          <a:xfrm>
            <a:off x="5216544" y="2972597"/>
            <a:ext cx="78929" cy="2115693"/>
          </a:xfrm>
          <a:custGeom>
            <a:avLst/>
            <a:gdLst/>
            <a:ahLst/>
            <a:cxnLst/>
            <a:rect l="l" t="t" r="r" b="b"/>
            <a:pathLst>
              <a:path w="156210" h="1332229">
                <a:moveTo>
                  <a:pt x="0" y="0"/>
                </a:moveTo>
                <a:lnTo>
                  <a:pt x="49359" y="7967"/>
                </a:lnTo>
                <a:lnTo>
                  <a:pt x="92238" y="30150"/>
                </a:lnTo>
                <a:lnTo>
                  <a:pt x="126059" y="63971"/>
                </a:lnTo>
                <a:lnTo>
                  <a:pt x="148242" y="106850"/>
                </a:lnTo>
                <a:lnTo>
                  <a:pt x="156209" y="156210"/>
                </a:lnTo>
                <a:lnTo>
                  <a:pt x="156209" y="1175765"/>
                </a:lnTo>
                <a:lnTo>
                  <a:pt x="148242" y="1225125"/>
                </a:lnTo>
                <a:lnTo>
                  <a:pt x="126059" y="1268004"/>
                </a:lnTo>
                <a:lnTo>
                  <a:pt x="92238" y="1301825"/>
                </a:lnTo>
                <a:lnTo>
                  <a:pt x="49359" y="1324008"/>
                </a:lnTo>
                <a:lnTo>
                  <a:pt x="0" y="1331976"/>
                </a:lnTo>
              </a:path>
            </a:pathLst>
          </a:custGeom>
          <a:ln w="9144">
            <a:solidFill>
              <a:srgbClr val="009EDA"/>
            </a:solidFill>
          </a:ln>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12" name="object 12"/>
          <p:cNvSpPr txBox="1"/>
          <p:nvPr/>
        </p:nvSpPr>
        <p:spPr>
          <a:xfrm>
            <a:off x="4807848" y="2946462"/>
            <a:ext cx="322461" cy="1384995"/>
          </a:xfrm>
          <a:prstGeom prst="rect">
            <a:avLst/>
          </a:prstGeom>
        </p:spPr>
        <p:txBody>
          <a:bodyPr vert="horz" wrap="square" lIns="0" tIns="0" rIns="0" bIns="0" rtlCol="0">
            <a:spAutoFit/>
          </a:bodyPr>
          <a:lstStyle/>
          <a:p>
            <a:pPr marL="9337" marR="3734" algn="just" defTabSz="912754"/>
            <a:r>
              <a:rPr spc="-4" dirty="0">
                <a:solidFill>
                  <a:prstClr val="black"/>
                </a:solidFill>
                <a:latin typeface="Segoe UI Light" panose="020B0502040204020203" pitchFamily="34" charset="0"/>
                <a:cs typeface="Segoe UI Light" panose="020B0502040204020203" pitchFamily="34" charset="0"/>
              </a:rPr>
              <a:t>θ</a:t>
            </a:r>
            <a:r>
              <a:rPr spc="-5" baseline="-20833" dirty="0">
                <a:solidFill>
                  <a:prstClr val="black"/>
                </a:solidFill>
                <a:latin typeface="Segoe UI Light" panose="020B0502040204020203" pitchFamily="34" charset="0"/>
                <a:cs typeface="Segoe UI Light" panose="020B0502040204020203" pitchFamily="34" charset="0"/>
              </a:rPr>
              <a:t>0  </a:t>
            </a:r>
            <a:r>
              <a:rPr spc="-4" dirty="0">
                <a:solidFill>
                  <a:prstClr val="black"/>
                </a:solidFill>
                <a:latin typeface="Segoe UI Light" panose="020B0502040204020203" pitchFamily="34" charset="0"/>
                <a:cs typeface="Segoe UI Light" panose="020B0502040204020203" pitchFamily="34" charset="0"/>
              </a:rPr>
              <a:t>θ</a:t>
            </a:r>
            <a:r>
              <a:rPr spc="232" baseline="-20833" dirty="0">
                <a:solidFill>
                  <a:prstClr val="black"/>
                </a:solidFill>
                <a:latin typeface="Segoe UI Light" panose="020B0502040204020203" pitchFamily="34" charset="0"/>
                <a:cs typeface="Segoe UI Light" panose="020B0502040204020203" pitchFamily="34" charset="0"/>
              </a:rPr>
              <a:t>1  </a:t>
            </a:r>
            <a:r>
              <a:rPr spc="-4" dirty="0">
                <a:solidFill>
                  <a:prstClr val="black"/>
                </a:solidFill>
                <a:latin typeface="Segoe UI Light" panose="020B0502040204020203" pitchFamily="34" charset="0"/>
                <a:cs typeface="Segoe UI Light" panose="020B0502040204020203" pitchFamily="34" charset="0"/>
              </a:rPr>
              <a:t>θ</a:t>
            </a:r>
            <a:r>
              <a:rPr spc="-5" baseline="-20833" dirty="0">
                <a:solidFill>
                  <a:prstClr val="black"/>
                </a:solidFill>
                <a:latin typeface="Segoe UI Light" panose="020B0502040204020203" pitchFamily="34" charset="0"/>
                <a:cs typeface="Segoe UI Light" panose="020B0502040204020203" pitchFamily="34" charset="0"/>
              </a:rPr>
              <a:t>2  </a:t>
            </a:r>
            <a:r>
              <a:rPr spc="-4" dirty="0">
                <a:solidFill>
                  <a:prstClr val="black"/>
                </a:solidFill>
                <a:latin typeface="Segoe UI Light" panose="020B0502040204020203" pitchFamily="34" charset="0"/>
                <a:cs typeface="Segoe UI Light" panose="020B0502040204020203" pitchFamily="34" charset="0"/>
              </a:rPr>
              <a:t>θ</a:t>
            </a:r>
            <a:r>
              <a:rPr spc="-5" baseline="-20833" dirty="0">
                <a:solidFill>
                  <a:prstClr val="black"/>
                </a:solidFill>
                <a:latin typeface="Segoe UI Light" panose="020B0502040204020203" pitchFamily="34" charset="0"/>
                <a:cs typeface="Segoe UI Light" panose="020B0502040204020203" pitchFamily="34" charset="0"/>
              </a:rPr>
              <a:t>3  </a:t>
            </a:r>
            <a:r>
              <a:rPr spc="-4" dirty="0">
                <a:solidFill>
                  <a:prstClr val="black"/>
                </a:solidFill>
                <a:latin typeface="Segoe UI Light" panose="020B0502040204020203" pitchFamily="34" charset="0"/>
                <a:cs typeface="Segoe UI Light" panose="020B0502040204020203" pitchFamily="34" charset="0"/>
              </a:rPr>
              <a:t>θ</a:t>
            </a:r>
            <a:r>
              <a:rPr spc="-32" baseline="-20833" dirty="0">
                <a:solidFill>
                  <a:prstClr val="black"/>
                </a:solidFill>
                <a:latin typeface="Segoe UI Light" panose="020B0502040204020203" pitchFamily="34" charset="0"/>
                <a:cs typeface="Segoe UI Light" panose="020B0502040204020203" pitchFamily="34" charset="0"/>
              </a:rPr>
              <a:t>4</a:t>
            </a:r>
            <a:endParaRPr baseline="-20833" dirty="0">
              <a:solidFill>
                <a:prstClr val="black"/>
              </a:solidFill>
              <a:latin typeface="Segoe UI Light" panose="020B0502040204020203" pitchFamily="34" charset="0"/>
              <a:cs typeface="Segoe UI Light" panose="020B0502040204020203" pitchFamily="34" charset="0"/>
            </a:endParaRPr>
          </a:p>
        </p:txBody>
      </p:sp>
      <p:sp>
        <p:nvSpPr>
          <p:cNvPr id="13" name="object 13"/>
          <p:cNvSpPr txBox="1"/>
          <p:nvPr/>
        </p:nvSpPr>
        <p:spPr>
          <a:xfrm>
            <a:off x="2855353" y="4728603"/>
            <a:ext cx="2947218" cy="276999"/>
          </a:xfrm>
          <a:prstGeom prst="rect">
            <a:avLst/>
          </a:prstGeom>
        </p:spPr>
        <p:txBody>
          <a:bodyPr vert="horz" wrap="square" lIns="0" tIns="0" rIns="0" bIns="0" rtlCol="0">
            <a:spAutoFit/>
          </a:bodyPr>
          <a:lstStyle/>
          <a:p>
            <a:pPr marL="9337" defTabSz="912754">
              <a:tabLst>
                <a:tab pos="1961644" algn="l"/>
              </a:tabLst>
            </a:pPr>
            <a:r>
              <a:rPr spc="-4" dirty="0">
                <a:solidFill>
                  <a:prstClr val="black"/>
                </a:solidFill>
                <a:latin typeface="Segoe UI Light" panose="020B0502040204020203" pitchFamily="34" charset="0"/>
                <a:cs typeface="Segoe UI Light" panose="020B0502040204020203" pitchFamily="34" charset="0"/>
              </a:rPr>
              <a:t>x</a:t>
            </a:r>
            <a:r>
              <a:rPr spc="-5" baseline="-20833" dirty="0">
                <a:solidFill>
                  <a:prstClr val="black"/>
                </a:solidFill>
                <a:latin typeface="Segoe UI Light" panose="020B0502040204020203" pitchFamily="34" charset="0"/>
                <a:cs typeface="Segoe UI Light" panose="020B0502040204020203" pitchFamily="34" charset="0"/>
              </a:rPr>
              <a:t>n</a:t>
            </a:r>
            <a:r>
              <a:rPr baseline="-20833" dirty="0">
                <a:solidFill>
                  <a:prstClr val="black"/>
                </a:solidFill>
                <a:latin typeface="Segoe UI Light" panose="020B0502040204020203" pitchFamily="34" charset="0"/>
                <a:cs typeface="Segoe UI Light" panose="020B0502040204020203" pitchFamily="34" charset="0"/>
              </a:rPr>
              <a:t>	</a:t>
            </a:r>
            <a:r>
              <a:rPr spc="-4" dirty="0">
                <a:solidFill>
                  <a:prstClr val="black"/>
                </a:solidFill>
                <a:latin typeface="Segoe UI Light" panose="020B0502040204020203" pitchFamily="34" charset="0"/>
                <a:cs typeface="Segoe UI Light" panose="020B0502040204020203" pitchFamily="34" charset="0"/>
              </a:rPr>
              <a:t>θ</a:t>
            </a:r>
            <a:r>
              <a:rPr spc="-5" baseline="-19097" dirty="0">
                <a:solidFill>
                  <a:prstClr val="black"/>
                </a:solidFill>
                <a:latin typeface="Segoe UI Light" panose="020B0502040204020203" pitchFamily="34" charset="0"/>
                <a:cs typeface="Segoe UI Light" panose="020B0502040204020203" pitchFamily="34" charset="0"/>
              </a:rPr>
              <a:t>n</a:t>
            </a:r>
            <a:endParaRPr baseline="-19097" dirty="0">
              <a:solidFill>
                <a:prstClr val="black"/>
              </a:solidFill>
              <a:latin typeface="Segoe UI Light" panose="020B0502040204020203" pitchFamily="34" charset="0"/>
              <a:cs typeface="Segoe UI Light" panose="020B0502040204020203" pitchFamily="34" charset="0"/>
            </a:endParaRPr>
          </a:p>
        </p:txBody>
      </p:sp>
      <p:sp>
        <p:nvSpPr>
          <p:cNvPr id="14" name="object 14"/>
          <p:cNvSpPr txBox="1"/>
          <p:nvPr/>
        </p:nvSpPr>
        <p:spPr>
          <a:xfrm>
            <a:off x="1988837" y="3703822"/>
            <a:ext cx="523268" cy="276999"/>
          </a:xfrm>
          <a:prstGeom prst="rect">
            <a:avLst/>
          </a:prstGeom>
        </p:spPr>
        <p:txBody>
          <a:bodyPr vert="horz" wrap="square" lIns="0" tIns="0" rIns="0" bIns="0" rtlCol="0">
            <a:spAutoFit/>
          </a:bodyPr>
          <a:lstStyle/>
          <a:p>
            <a:pPr marL="9337" defTabSz="912754"/>
            <a:r>
              <a:rPr dirty="0">
                <a:solidFill>
                  <a:prstClr val="black"/>
                </a:solidFill>
                <a:latin typeface="Segoe UI Light" panose="020B0502040204020203" pitchFamily="34" charset="0"/>
                <a:cs typeface="Segoe UI Light" panose="020B0502040204020203" pitchFamily="34" charset="0"/>
              </a:rPr>
              <a:t>X</a:t>
            </a:r>
            <a:r>
              <a:rPr spc="-70" dirty="0">
                <a:solidFill>
                  <a:prstClr val="black"/>
                </a:solidFill>
                <a:latin typeface="Segoe UI Light" panose="020B0502040204020203" pitchFamily="34" charset="0"/>
                <a:cs typeface="Segoe UI Light" panose="020B0502040204020203" pitchFamily="34" charset="0"/>
              </a:rPr>
              <a:t> </a:t>
            </a:r>
            <a:r>
              <a:rPr dirty="0">
                <a:solidFill>
                  <a:prstClr val="black"/>
                </a:solidFill>
                <a:latin typeface="Segoe UI Light" panose="020B0502040204020203" pitchFamily="34" charset="0"/>
                <a:cs typeface="Segoe UI Light" panose="020B0502040204020203" pitchFamily="34" charset="0"/>
              </a:rPr>
              <a:t>=</a:t>
            </a:r>
          </a:p>
        </p:txBody>
      </p:sp>
      <p:sp>
        <p:nvSpPr>
          <p:cNvPr id="15" name="object 15"/>
          <p:cNvSpPr txBox="1"/>
          <p:nvPr/>
        </p:nvSpPr>
        <p:spPr>
          <a:xfrm>
            <a:off x="4003588" y="3703822"/>
            <a:ext cx="511222" cy="276999"/>
          </a:xfrm>
          <a:prstGeom prst="rect">
            <a:avLst/>
          </a:prstGeom>
        </p:spPr>
        <p:txBody>
          <a:bodyPr vert="horz" wrap="square" lIns="0" tIns="0" rIns="0" bIns="0" rtlCol="0">
            <a:spAutoFit/>
          </a:bodyPr>
          <a:lstStyle/>
          <a:p>
            <a:pPr marL="9337" defTabSz="912754"/>
            <a:r>
              <a:rPr spc="-4" dirty="0">
                <a:solidFill>
                  <a:prstClr val="black"/>
                </a:solidFill>
                <a:latin typeface="Segoe UI Light" panose="020B0502040204020203" pitchFamily="34" charset="0"/>
                <a:cs typeface="Segoe UI Light" panose="020B0502040204020203" pitchFamily="34" charset="0"/>
              </a:rPr>
              <a:t>θ</a:t>
            </a:r>
            <a:r>
              <a:rPr spc="-66" dirty="0">
                <a:solidFill>
                  <a:prstClr val="black"/>
                </a:solidFill>
                <a:latin typeface="Segoe UI Light" panose="020B0502040204020203" pitchFamily="34" charset="0"/>
                <a:cs typeface="Segoe UI Light" panose="020B0502040204020203" pitchFamily="34" charset="0"/>
              </a:rPr>
              <a:t> </a:t>
            </a:r>
            <a:r>
              <a:rPr dirty="0">
                <a:solidFill>
                  <a:prstClr val="black"/>
                </a:solidFill>
                <a:latin typeface="Segoe UI Light" panose="020B0502040204020203" pitchFamily="34" charset="0"/>
                <a:cs typeface="Segoe UI Light" panose="020B0502040204020203" pitchFamily="34" charset="0"/>
              </a:rPr>
              <a:t>=</a:t>
            </a:r>
          </a:p>
        </p:txBody>
      </p:sp>
      <p:sp>
        <p:nvSpPr>
          <p:cNvPr id="17" name="Title 1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Hypothesis</a:t>
            </a:r>
          </a:p>
        </p:txBody>
      </p:sp>
      <p:sp>
        <p:nvSpPr>
          <p:cNvPr id="22" name="TextBox 21"/>
          <p:cNvSpPr txBox="1"/>
          <p:nvPr/>
        </p:nvSpPr>
        <p:spPr>
          <a:xfrm>
            <a:off x="971443" y="1973095"/>
            <a:ext cx="682751" cy="369332"/>
          </a:xfrm>
          <a:prstGeom prst="rect">
            <a:avLst/>
          </a:prstGeom>
          <a:noFill/>
        </p:spPr>
        <p:txBody>
          <a:bodyPr wrap="none" rtlCol="0">
            <a:spAutoFit/>
          </a:bodyPr>
          <a:lstStyle/>
          <a:p>
            <a:pPr defTabSz="912754"/>
            <a:r>
              <a:rPr lang="en-US" spc="-4" dirty="0">
                <a:solidFill>
                  <a:prstClr val="black"/>
                </a:solidFill>
                <a:latin typeface="Segoe UI Light" panose="020B0502040204020203" pitchFamily="34" charset="0"/>
                <a:cs typeface="Segoe UI Light" panose="020B0502040204020203" pitchFamily="34" charset="0"/>
              </a:rPr>
              <a:t>Now:</a:t>
            </a:r>
          </a:p>
        </p:txBody>
      </p:sp>
      <p:sp>
        <p:nvSpPr>
          <p:cNvPr id="23" name="object 2"/>
          <p:cNvSpPr/>
          <p:nvPr/>
        </p:nvSpPr>
        <p:spPr>
          <a:xfrm>
            <a:off x="2738697" y="1487522"/>
            <a:ext cx="2517311" cy="349534"/>
          </a:xfrm>
          <a:prstGeom prst="rect">
            <a:avLst/>
          </a:prstGeom>
          <a:blipFill>
            <a:blip r:embed="rId5" cstate="print"/>
            <a:stretch>
              <a:fillRect/>
            </a:stretch>
          </a:blipFill>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24" name="TextBox 23"/>
          <p:cNvSpPr txBox="1"/>
          <p:nvPr/>
        </p:nvSpPr>
        <p:spPr>
          <a:xfrm>
            <a:off x="960792" y="1389063"/>
            <a:ext cx="1192827" cy="369332"/>
          </a:xfrm>
          <a:prstGeom prst="rect">
            <a:avLst/>
          </a:prstGeom>
          <a:noFill/>
        </p:spPr>
        <p:txBody>
          <a:bodyPr wrap="none" rtlCol="0">
            <a:spAutoFit/>
          </a:bodyPr>
          <a:lstStyle/>
          <a:p>
            <a:pPr defTabSz="912754"/>
            <a:r>
              <a:rPr lang="en-US" spc="-4" dirty="0">
                <a:solidFill>
                  <a:prstClr val="black"/>
                </a:solidFill>
                <a:latin typeface="Segoe UI Light" panose="020B0502040204020203" pitchFamily="34" charset="0"/>
                <a:cs typeface="Segoe UI Light" panose="020B0502040204020203" pitchFamily="34" charset="0"/>
              </a:rPr>
              <a:t>Previously</a:t>
            </a:r>
            <a:r>
              <a:rPr lang="en-US" dirty="0">
                <a:solidFill>
                  <a:srgbClr val="000000"/>
                </a:solidFill>
                <a:latin typeface="Segoe UI Light" panose="020B0502040204020203" pitchFamily="34" charset="0"/>
                <a:cs typeface="Segoe UI Light" panose="020B0502040204020203" pitchFamily="34" charset="0"/>
              </a:rPr>
              <a:t>:</a:t>
            </a:r>
          </a:p>
        </p:txBody>
      </p:sp>
      <p:sp>
        <p:nvSpPr>
          <p:cNvPr id="18" name="Rectangle 17"/>
          <p:cNvSpPr/>
          <p:nvPr/>
        </p:nvSpPr>
        <p:spPr>
          <a:xfrm>
            <a:off x="5819051" y="3819725"/>
            <a:ext cx="3346603" cy="21505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r>
              <a:rPr lang="nl-NL" b="1" dirty="0">
                <a:solidFill>
                  <a:srgbClr val="FFFFFF"/>
                </a:solidFill>
                <a:latin typeface="Segoe UI Light" panose="020B0502040204020203" pitchFamily="34" charset="0"/>
                <a:cs typeface="Segoe UI Light" panose="020B0502040204020203" pitchFamily="34" charset="0"/>
              </a:rPr>
              <a:t>You can be creative in the choice of features:</a:t>
            </a:r>
          </a:p>
          <a:p>
            <a:pPr defTabSz="912754"/>
            <a:r>
              <a:rPr lang="en-US" dirty="0">
                <a:solidFill>
                  <a:srgbClr val="FFFFFF"/>
                </a:solidFill>
                <a:latin typeface="Segoe UI Light" panose="020B0502040204020203" pitchFamily="34" charset="0"/>
                <a:cs typeface="Segoe UI Light" panose="020B0502040204020203" pitchFamily="34" charset="0"/>
              </a:rPr>
              <a:t>Polynomials: age, age</a:t>
            </a:r>
            <a:r>
              <a:rPr lang="en-US" baseline="30000" dirty="0">
                <a:solidFill>
                  <a:srgbClr val="FFFFFF"/>
                </a:solidFill>
                <a:latin typeface="Segoe UI Light" panose="020B0502040204020203" pitchFamily="34" charset="0"/>
                <a:cs typeface="Segoe UI Light" panose="020B0502040204020203" pitchFamily="34" charset="0"/>
              </a:rPr>
              <a:t>2</a:t>
            </a:r>
            <a:r>
              <a:rPr lang="en-US" dirty="0">
                <a:solidFill>
                  <a:srgbClr val="FFFFFF"/>
                </a:solidFill>
                <a:latin typeface="Segoe UI Light" panose="020B0502040204020203" pitchFamily="34" charset="0"/>
                <a:cs typeface="Segoe UI Light" panose="020B0502040204020203" pitchFamily="34" charset="0"/>
              </a:rPr>
              <a:t>, age</a:t>
            </a:r>
            <a:r>
              <a:rPr lang="en-US" baseline="30000" dirty="0">
                <a:solidFill>
                  <a:srgbClr val="FFFFFF"/>
                </a:solidFill>
                <a:latin typeface="Segoe UI Light" panose="020B0502040204020203" pitchFamily="34" charset="0"/>
                <a:cs typeface="Segoe UI Light" panose="020B0502040204020203" pitchFamily="34" charset="0"/>
              </a:rPr>
              <a:t>3</a:t>
            </a:r>
            <a:endParaRPr lang="en-US" dirty="0">
              <a:solidFill>
                <a:srgbClr val="FFFFFF"/>
              </a:solidFill>
              <a:latin typeface="Segoe UI Light" panose="020B0502040204020203" pitchFamily="34" charset="0"/>
              <a:cs typeface="Segoe UI Light" panose="020B0502040204020203" pitchFamily="34" charset="0"/>
            </a:endParaRPr>
          </a:p>
          <a:p>
            <a:pPr defTabSz="912754"/>
            <a:r>
              <a:rPr lang="en-US" dirty="0">
                <a:solidFill>
                  <a:srgbClr val="FFFFFF"/>
                </a:solidFill>
                <a:latin typeface="Segoe UI Light" panose="020B0502040204020203" pitchFamily="34" charset="0"/>
                <a:cs typeface="Segoe UI Light" panose="020B0502040204020203" pitchFamily="34" charset="0"/>
              </a:rPr>
              <a:t>Indicator variables: 1 if age&gt;60 and 0 otherwise, etc.</a:t>
            </a:r>
          </a:p>
        </p:txBody>
      </p:sp>
      <p:sp>
        <p:nvSpPr>
          <p:cNvPr id="16" name="Slide Number Placeholder 15"/>
          <p:cNvSpPr>
            <a:spLocks noGrp="1"/>
          </p:cNvSpPr>
          <p:nvPr>
            <p:ph type="sldNum" sz="quarter" idx="12"/>
          </p:nvPr>
        </p:nvSpPr>
        <p:spPr/>
        <p:txBody>
          <a:bodyPr/>
          <a:lstStyle/>
          <a:p>
            <a:fld id="{3847DB54-D037-B84F-B6F1-2E8DA40D09AD}" type="slidenum">
              <a:rPr lang="en-US" smtClean="0"/>
              <a:pPr/>
              <a:t>15</a:t>
            </a:fld>
            <a:endParaRPr lang="en-US"/>
          </a:p>
        </p:txBody>
      </p:sp>
    </p:spTree>
    <p:extLst>
      <p:ext uri="{BB962C8B-B14F-4D97-AF65-F5344CB8AC3E}">
        <p14:creationId xmlns:p14="http://schemas.microsoft.com/office/powerpoint/2010/main" val="21009283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verfitting</a:t>
            </a:r>
          </a:p>
        </p:txBody>
      </p:sp>
      <p:sp>
        <p:nvSpPr>
          <p:cNvPr id="4" name="TextBox 3"/>
          <p:cNvSpPr txBox="1"/>
          <p:nvPr/>
        </p:nvSpPr>
        <p:spPr>
          <a:xfrm>
            <a:off x="960792" y="1283400"/>
            <a:ext cx="8296786" cy="3778654"/>
          </a:xfrm>
          <a:prstGeom prst="rect">
            <a:avLst/>
          </a:prstGeom>
          <a:noFill/>
        </p:spPr>
        <p:txBody>
          <a:bodyPr wrap="squar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Overfitting is when...</a:t>
            </a:r>
          </a:p>
          <a:p>
            <a:pPr marL="456377" indent="-456377" defTabSz="912754">
              <a:buFont typeface="+mj-lt"/>
              <a:buAutoNum type="alphaUcPeriod"/>
            </a:pPr>
            <a:r>
              <a:rPr lang="en-US" sz="2396" dirty="0">
                <a:solidFill>
                  <a:srgbClr val="000000"/>
                </a:solidFill>
                <a:latin typeface="Segoe UI Light" panose="020B0502040204020203" pitchFamily="34" charset="0"/>
                <a:cs typeface="Segoe UI Light" panose="020B0502040204020203" pitchFamily="34" charset="0"/>
              </a:rPr>
              <a:t>You choose to memorize and not to understand</a:t>
            </a:r>
          </a:p>
          <a:p>
            <a:pPr marL="456377" indent="-456377" defTabSz="912754">
              <a:buFont typeface="+mj-lt"/>
              <a:buAutoNum type="alphaUcPeriod"/>
            </a:pPr>
            <a:r>
              <a:rPr lang="en-US" sz="2396" dirty="0">
                <a:solidFill>
                  <a:srgbClr val="000000"/>
                </a:solidFill>
                <a:latin typeface="Segoe UI Light" panose="020B0502040204020203" pitchFamily="34" charset="0"/>
                <a:cs typeface="Segoe UI Light" panose="020B0502040204020203" pitchFamily="34" charset="0"/>
              </a:rPr>
              <a:t>When you learn too much about the training data but are unable to generalize the idea</a:t>
            </a:r>
          </a:p>
          <a:p>
            <a:pPr marL="456377" indent="-456377" defTabSz="912754">
              <a:buFont typeface="+mj-lt"/>
              <a:buAutoNum type="alphaUcPeriod"/>
            </a:pPr>
            <a:r>
              <a:rPr lang="en-US" sz="2396" dirty="0">
                <a:solidFill>
                  <a:srgbClr val="000000"/>
                </a:solidFill>
                <a:latin typeface="Segoe UI Light" panose="020B0502040204020203" pitchFamily="34" charset="0"/>
                <a:cs typeface="Segoe UI Light" panose="020B0502040204020203" pitchFamily="34" charset="0"/>
              </a:rPr>
              <a:t>When your results on the training set are good, but on the test set, poor</a:t>
            </a:r>
          </a:p>
          <a:p>
            <a:pPr marL="456377" indent="-456377" defTabSz="912754">
              <a:buFont typeface="+mj-lt"/>
              <a:buAutoNum type="alphaUcPeriod"/>
            </a:pPr>
            <a:endParaRPr lang="en-US" sz="2396" dirty="0">
              <a:solidFill>
                <a:srgbClr val="000000"/>
              </a:solidFill>
              <a:latin typeface="Segoe UI Light" panose="020B0502040204020203" pitchFamily="34" charset="0"/>
              <a:cs typeface="Segoe UI Light" panose="020B0502040204020203" pitchFamily="34" charset="0"/>
            </a:endParaRPr>
          </a:p>
          <a:p>
            <a:pPr defTabSz="912754"/>
            <a:endParaRPr lang="en-US" sz="2396" dirty="0">
              <a:solidFill>
                <a:srgbClr val="000000"/>
              </a:solidFill>
              <a:latin typeface="Segoe UI Light" panose="020B0502040204020203" pitchFamily="34" charset="0"/>
              <a:cs typeface="Segoe UI Light" panose="020B0502040204020203" pitchFamily="34" charset="0"/>
            </a:endParaRPr>
          </a:p>
          <a:p>
            <a:pPr defTabSz="912754"/>
            <a:r>
              <a:rPr lang="en-US" sz="2396" dirty="0">
                <a:solidFill>
                  <a:srgbClr val="000000"/>
                </a:solidFill>
                <a:latin typeface="Segoe UI Light" panose="020B0502040204020203" pitchFamily="34" charset="0"/>
                <a:cs typeface="Segoe UI Light" panose="020B0502040204020203" pitchFamily="34" charset="0"/>
              </a:rPr>
              <a:t>One solution (of many)</a:t>
            </a:r>
          </a:p>
          <a:p>
            <a:pPr marL="342283" indent="-342283" defTabSz="912754">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Use less attributes</a:t>
            </a:r>
          </a:p>
        </p:txBody>
      </p:sp>
      <p:pic>
        <p:nvPicPr>
          <p:cNvPr id="5" name="Picture 4"/>
          <p:cNvPicPr>
            <a:picLocks noChangeAspect="1"/>
          </p:cNvPicPr>
          <p:nvPr/>
        </p:nvPicPr>
        <p:blipFill>
          <a:blip r:embed="rId2"/>
          <a:stretch>
            <a:fillRect/>
          </a:stretch>
        </p:blipFill>
        <p:spPr>
          <a:xfrm>
            <a:off x="5351127" y="3260940"/>
            <a:ext cx="2662070" cy="2662143"/>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16</a:t>
            </a:fld>
            <a:endParaRPr lang="en-US"/>
          </a:p>
        </p:txBody>
      </p:sp>
    </p:spTree>
    <p:extLst>
      <p:ext uri="{BB962C8B-B14F-4D97-AF65-F5344CB8AC3E}">
        <p14:creationId xmlns:p14="http://schemas.microsoft.com/office/powerpoint/2010/main" val="34747760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17</a:t>
            </a:fld>
            <a:endParaRPr lang="en-US"/>
          </a:p>
        </p:txBody>
      </p:sp>
      <p:sp>
        <p:nvSpPr>
          <p:cNvPr id="6" name="TextBox 5"/>
          <p:cNvSpPr txBox="1"/>
          <p:nvPr/>
        </p:nvSpPr>
        <p:spPr>
          <a:xfrm>
            <a:off x="2749397" y="2744467"/>
            <a:ext cx="6997442" cy="784276"/>
          </a:xfrm>
          <a:prstGeom prst="rect">
            <a:avLst/>
          </a:prstGeom>
          <a:noFill/>
        </p:spPr>
        <p:txBody>
          <a:bodyPr wrap="square" rtlCol="0">
            <a:spAutoFit/>
          </a:bodyPr>
          <a:lstStyle/>
          <a:p>
            <a:pPr algn="ctr" defTabSz="455541"/>
            <a:r>
              <a:rPr lang="en-US" sz="4400" dirty="0">
                <a:solidFill>
                  <a:srgbClr val="FFFFFF"/>
                </a:solidFill>
                <a:cs typeface="Segoe UI Light" panose="020B0502040204020203" pitchFamily="34" charset="0"/>
              </a:rPr>
              <a:t>Outlier: Influential Points</a:t>
            </a:r>
          </a:p>
        </p:txBody>
      </p:sp>
    </p:spTree>
    <p:extLst>
      <p:ext uri="{BB962C8B-B14F-4D97-AF65-F5344CB8AC3E}">
        <p14:creationId xmlns:p14="http://schemas.microsoft.com/office/powerpoint/2010/main" val="338863036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2"/>
          <p:cNvSpPr>
            <a:spLocks noGrp="1"/>
          </p:cNvSpPr>
          <p:nvPr>
            <p:ph idx="1"/>
          </p:nvPr>
        </p:nvSpPr>
        <p:spPr/>
        <p:txBody>
          <a:bodyPr/>
          <a:lstStyle/>
          <a:p>
            <a:pPr marL="0" indent="0">
              <a:buNone/>
            </a:pPr>
            <a:r>
              <a:rPr lang="en-US" sz="2396" kern="1200" dirty="0">
                <a:solidFill>
                  <a:schemeClr val="tx1"/>
                </a:solidFill>
                <a:latin typeface="Segoe UI Light" panose="020B0502040204020203" pitchFamily="34" charset="0"/>
                <a:cs typeface="Segoe UI Light" panose="020B0502040204020203" pitchFamily="34" charset="0"/>
              </a:rPr>
              <a:t>An influential point changes the estimates substantially when omitted</a:t>
            </a: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Influential Points</a:t>
            </a:r>
          </a:p>
        </p:txBody>
      </p:sp>
      <p:cxnSp>
        <p:nvCxnSpPr>
          <p:cNvPr id="4" name="Straight Arrow Connector 3"/>
          <p:cNvCxnSpPr/>
          <p:nvPr/>
        </p:nvCxnSpPr>
        <p:spPr>
          <a:xfrm>
            <a:off x="3850401" y="5512956"/>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3839822" y="2424049"/>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862037" y="5559725"/>
            <a:ext cx="313929" cy="39873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7592888" y="5550802"/>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4123384" y="5802546"/>
            <a:ext cx="3945230" cy="399468"/>
          </a:xfrm>
          <a:prstGeom prst="rect">
            <a:avLst/>
          </a:prstGeom>
          <a:noFill/>
        </p:spPr>
        <p:txBody>
          <a:bodyPr wrap="square" rtlCol="0">
            <a:spAutoFit/>
          </a:bodyPr>
          <a:lstStyle/>
          <a:p>
            <a:pPr defTabSz="912754"/>
            <a:r>
              <a:rPr lang="en-US" sz="1996" dirty="0">
                <a:solidFill>
                  <a:srgbClr val="000000"/>
                </a:solidFill>
              </a:rPr>
              <a:t>Number of Businessweek clicks</a:t>
            </a:r>
          </a:p>
        </p:txBody>
      </p:sp>
      <p:sp>
        <p:nvSpPr>
          <p:cNvPr id="9" name="TextBox 8"/>
          <p:cNvSpPr txBox="1"/>
          <p:nvPr/>
        </p:nvSpPr>
        <p:spPr>
          <a:xfrm>
            <a:off x="3530931" y="5160917"/>
            <a:ext cx="313929" cy="39873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3918105" y="2487745"/>
            <a:ext cx="899543" cy="39873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5256275" y="36225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a:off x="4015424" y="432076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6201988" y="360037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6633589" y="3276672"/>
            <a:ext cx="47603" cy="5712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a:off x="7227039" y="331475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691049" y="356863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4351818" y="38383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4653304" y="386694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4234398" y="402245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4954790" y="356228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4780245" y="370827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6989025" y="354324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6820827" y="343217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7617383" y="331158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7944258" y="328301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7731630" y="342582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779909" y="360989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945606" y="3219547"/>
            <a:ext cx="4074816" cy="79973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4006066" y="3396694"/>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 name="Slide Number Placeholder 2"/>
          <p:cNvSpPr>
            <a:spLocks noGrp="1"/>
          </p:cNvSpPr>
          <p:nvPr>
            <p:ph type="sldNum" sz="quarter" idx="12"/>
          </p:nvPr>
        </p:nvSpPr>
        <p:spPr/>
        <p:txBody>
          <a:bodyPr/>
          <a:lstStyle/>
          <a:p>
            <a:fld id="{3847DB54-D037-B84F-B6F1-2E8DA40D09AD}" type="slidenum">
              <a:rPr lang="en-US" smtClean="0"/>
              <a:pPr/>
              <a:t>18</a:t>
            </a:fld>
            <a:endParaRPr lang="en-US"/>
          </a:p>
        </p:txBody>
      </p:sp>
    </p:spTree>
    <p:extLst>
      <p:ext uri="{BB962C8B-B14F-4D97-AF65-F5344CB8AC3E}">
        <p14:creationId xmlns:p14="http://schemas.microsoft.com/office/powerpoint/2010/main" val="149686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3850401" y="5512956"/>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3839822" y="2424049"/>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862037" y="555972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7565610" y="5512956"/>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4258198" y="5759411"/>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3530931" y="5160917"/>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3918105" y="248774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5256275" y="36225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a:off x="4015424" y="432076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6201988" y="360037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6633589" y="2464263"/>
            <a:ext cx="47603" cy="5712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FF"/>
              </a:solidFill>
              <a:latin typeface="Arial"/>
            </a:endParaRPr>
          </a:p>
        </p:txBody>
      </p:sp>
      <p:sp>
        <p:nvSpPr>
          <p:cNvPr id="16" name="Oval 15"/>
          <p:cNvSpPr/>
          <p:nvPr/>
        </p:nvSpPr>
        <p:spPr>
          <a:xfrm>
            <a:off x="7227039" y="331475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691049" y="356863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4351818" y="38383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4653304" y="386694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4234398" y="402245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4954790" y="356228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4780245" y="370827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6989025" y="354324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6820827" y="343217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7617383" y="331158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7944258" y="328301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7731630" y="342582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779909" y="360989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945606" y="3219547"/>
            <a:ext cx="4074816" cy="79973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4006066" y="3396694"/>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2" name="Content Placeholder 2"/>
          <p:cNvSpPr>
            <a:spLocks noGrp="1"/>
          </p:cNvSpPr>
          <p:nvPr>
            <p:ph idx="1"/>
          </p:nvPr>
        </p:nvSpPr>
        <p:spPr/>
        <p:txBody>
          <a:bodyPr/>
          <a:lstStyle/>
          <a:p>
            <a:pPr marL="0" indent="0">
              <a:buNone/>
            </a:pPr>
            <a:r>
              <a:rPr lang="en-US" sz="2400" kern="1200" dirty="0">
                <a:solidFill>
                  <a:schemeClr val="tx1"/>
                </a:solidFill>
                <a:latin typeface="Segoe UI Light" panose="020B0502040204020203" pitchFamily="34" charset="0"/>
                <a:cs typeface="Segoe UI Light" panose="020B0502040204020203" pitchFamily="34" charset="0"/>
              </a:rPr>
              <a:t>An influential point changes the estimates substantially when omitted</a:t>
            </a:r>
          </a:p>
        </p:txBody>
      </p:sp>
      <p:sp>
        <p:nvSpPr>
          <p:cNvPr id="35" name="Title 1"/>
          <p:cNvSpPr txBox="1">
            <a:spLocks/>
          </p:cNvSpPr>
          <p:nvPr/>
        </p:nvSpPr>
        <p:spPr bwMode="auto">
          <a:xfrm>
            <a:off x="960792" y="443384"/>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Influential Poi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19</a:t>
            </a:fld>
            <a:endParaRPr lang="en-US"/>
          </a:p>
        </p:txBody>
      </p:sp>
    </p:spTree>
    <p:extLst>
      <p:ext uri="{BB962C8B-B14F-4D97-AF65-F5344CB8AC3E}">
        <p14:creationId xmlns:p14="http://schemas.microsoft.com/office/powerpoint/2010/main" val="10407534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Linear Regression</a:t>
            </a:r>
          </a:p>
          <a:p>
            <a:pPr>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Linear Regression with Multiple Variables</a:t>
            </a:r>
          </a:p>
          <a:p>
            <a:pPr>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Outliers &amp; Influential Points</a:t>
            </a:r>
          </a:p>
          <a:p>
            <a:pPr>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Outlier Leverage</a:t>
            </a:r>
            <a:endParaRPr lang="en-US" sz="2400" dirty="0">
              <a:latin typeface="Segoe UI Light" panose="020B0502040204020203" pitchFamily="34" charset="0"/>
              <a:cs typeface="Segoe UI Light" panose="020B0502040204020203" pitchFamily="34" charset="0"/>
            </a:endParaRPr>
          </a:p>
          <a:p>
            <a:pPr>
              <a:buClr>
                <a:schemeClr val="tx2"/>
              </a:buClr>
              <a:buFont typeface="Wingdings" panose="05000000000000000000" pitchFamily="2" charset="2"/>
              <a:buChar char="§"/>
            </a:pPr>
            <a:r>
              <a:rPr lang="en-US" sz="2400" dirty="0">
                <a:latin typeface="Segoe UI Light" panose="020B0502040204020203" pitchFamily="34" charset="0"/>
                <a:cs typeface="Segoe UI Light" panose="020B0502040204020203" pitchFamily="34" charset="0"/>
              </a:rPr>
              <a:t> Logistic Regression </a:t>
            </a:r>
          </a:p>
          <a:p>
            <a:pPr>
              <a:buClr>
                <a:schemeClr val="tx2"/>
              </a:buClr>
              <a:buFont typeface="Wingdings" panose="05000000000000000000" pitchFamily="2" charset="2"/>
              <a:buChar char="§"/>
            </a:pPr>
            <a:r>
              <a:rPr lang="nl-NL" sz="2400" dirty="0">
                <a:latin typeface="Segoe UI Light" panose="020B0502040204020203" pitchFamily="34" charset="0"/>
                <a:cs typeface="Segoe UI Light" panose="020B0502040204020203" pitchFamily="34" charset="0"/>
              </a:rPr>
              <a:t> How to Evaluate Linear &amp; Logistic Regression Models</a:t>
            </a:r>
            <a:endParaRPr lang="en-US" sz="2400" dirty="0">
              <a:latin typeface="Segoe UI Light" panose="020B0502040204020203" pitchFamily="34" charset="0"/>
              <a:cs typeface="Segoe UI Light" panose="020B0502040204020203" pitchFamily="34" charset="0"/>
            </a:endParaRPr>
          </a:p>
          <a:p>
            <a:pPr marL="0" indent="0">
              <a:buNone/>
            </a:pPr>
            <a:endParaRPr lang="en-US" sz="2400" dirty="0">
              <a:latin typeface="Segoe UI Light" panose="020B0502040204020203" pitchFamily="34" charset="0"/>
              <a:cs typeface="Segoe UI Light" panose="020B0502040204020203" pitchFamily="34" charset="0"/>
            </a:endParaRPr>
          </a:p>
          <a:p>
            <a:pPr marL="0" indent="0">
              <a:buNone/>
            </a:pPr>
            <a:endParaRPr lang="en-US" sz="2400" dirty="0">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Over the next 1.5 hours you will learn about…</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a:t>
            </a:fld>
            <a:endParaRPr lang="en-US"/>
          </a:p>
        </p:txBody>
      </p:sp>
    </p:spTree>
    <p:extLst>
      <p:ext uri="{BB962C8B-B14F-4D97-AF65-F5344CB8AC3E}">
        <p14:creationId xmlns:p14="http://schemas.microsoft.com/office/powerpoint/2010/main" val="1541755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3850401" y="5512956"/>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3839822" y="2424049"/>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862037" y="555972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7551287" y="5559725"/>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4274067" y="5732076"/>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3530931" y="5160917"/>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3918105" y="248774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5256275" y="36225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a:off x="4015424" y="432076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6201988" y="360037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6633589" y="2464263"/>
            <a:ext cx="47603" cy="5712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FF"/>
              </a:solidFill>
              <a:latin typeface="Arial"/>
            </a:endParaRPr>
          </a:p>
        </p:txBody>
      </p:sp>
      <p:sp>
        <p:nvSpPr>
          <p:cNvPr id="16" name="Oval 15"/>
          <p:cNvSpPr/>
          <p:nvPr/>
        </p:nvSpPr>
        <p:spPr>
          <a:xfrm>
            <a:off x="7227039" y="331475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691049" y="356863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4351818" y="38383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4653304" y="386694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4234398" y="402245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4954790" y="356228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4780245" y="370827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6989025" y="354324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6820827" y="343217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7617383" y="331158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7944258" y="328301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7731630" y="342582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779909" y="360989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945607" y="2800641"/>
            <a:ext cx="4092596" cy="1218638"/>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4006066" y="3396694"/>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5" name="Content Placeholder 2"/>
          <p:cNvSpPr>
            <a:spLocks noGrp="1"/>
          </p:cNvSpPr>
          <p:nvPr>
            <p:ph idx="1"/>
          </p:nvPr>
        </p:nvSpPr>
        <p:spPr/>
        <p:txBody>
          <a:bodyPr/>
          <a:lstStyle/>
          <a:p>
            <a:pPr marL="0" indent="0">
              <a:buNone/>
            </a:pPr>
            <a:r>
              <a:rPr lang="en-US" sz="2396" kern="1200" dirty="0">
                <a:solidFill>
                  <a:schemeClr val="tx1"/>
                </a:solidFill>
                <a:latin typeface="Segoe UI Light" panose="020B0502040204020203" pitchFamily="34" charset="0"/>
                <a:cs typeface="Segoe UI Light" panose="020B0502040204020203" pitchFamily="34" charset="0"/>
              </a:rPr>
              <a:t>An influential point changes the estimates substantially when omitted</a:t>
            </a:r>
          </a:p>
        </p:txBody>
      </p:sp>
      <p:sp>
        <p:nvSpPr>
          <p:cNvPr id="36" name="Title 1"/>
          <p:cNvSpPr txBox="1">
            <a:spLocks/>
          </p:cNvSpPr>
          <p:nvPr/>
        </p:nvSpPr>
        <p:spPr bwMode="auto">
          <a:xfrm>
            <a:off x="960792" y="319962"/>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Influential Poi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0</a:t>
            </a:fld>
            <a:endParaRPr lang="en-US"/>
          </a:p>
        </p:txBody>
      </p:sp>
    </p:spTree>
    <p:extLst>
      <p:ext uri="{BB962C8B-B14F-4D97-AF65-F5344CB8AC3E}">
        <p14:creationId xmlns:p14="http://schemas.microsoft.com/office/powerpoint/2010/main" val="14028643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3822582" y="5769678"/>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3812003" y="2680771"/>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834217" y="5816448"/>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7526094" y="5759324"/>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4272013" y="5972489"/>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3503111" y="5417640"/>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3890285" y="2744468"/>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5228456" y="387930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a:off x="3987605" y="4577487"/>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6174169" y="385709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6605769" y="2720986"/>
            <a:ext cx="47603" cy="5712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FF"/>
              </a:solidFill>
              <a:latin typeface="Arial"/>
            </a:endParaRPr>
          </a:p>
        </p:txBody>
      </p:sp>
      <p:sp>
        <p:nvSpPr>
          <p:cNvPr id="16" name="Oval 15"/>
          <p:cNvSpPr/>
          <p:nvPr/>
        </p:nvSpPr>
        <p:spPr>
          <a:xfrm>
            <a:off x="7199219" y="357147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663230" y="382535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4323999" y="409510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4625485" y="412367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4206578" y="427917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4926970" y="381901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4752426" y="396499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6961205" y="379997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6793008" y="368889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7589564" y="3568303"/>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7916438" y="353974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7703811" y="368255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752089" y="386661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917787" y="3057364"/>
            <a:ext cx="4092596" cy="1218638"/>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3" name="Freeform 32"/>
          <p:cNvSpPr/>
          <p:nvPr/>
        </p:nvSpPr>
        <p:spPr>
          <a:xfrm>
            <a:off x="8302348" y="1990791"/>
            <a:ext cx="575391" cy="1815526"/>
          </a:xfrm>
          <a:custGeom>
            <a:avLst/>
            <a:gdLst>
              <a:gd name="connsiteX0" fmla="*/ 643467 w 767543"/>
              <a:gd name="connsiteY0" fmla="*/ 2421821 h 2421821"/>
              <a:gd name="connsiteX1" fmla="*/ 592667 w 767543"/>
              <a:gd name="connsiteY1" fmla="*/ 2337154 h 2421821"/>
              <a:gd name="connsiteX2" fmla="*/ 474133 w 767543"/>
              <a:gd name="connsiteY2" fmla="*/ 2252487 h 2421821"/>
              <a:gd name="connsiteX3" fmla="*/ 457200 w 767543"/>
              <a:gd name="connsiteY3" fmla="*/ 2201687 h 2421821"/>
              <a:gd name="connsiteX4" fmla="*/ 389467 w 767543"/>
              <a:gd name="connsiteY4" fmla="*/ 2100087 h 2421821"/>
              <a:gd name="connsiteX5" fmla="*/ 338667 w 767543"/>
              <a:gd name="connsiteY5" fmla="*/ 1998487 h 2421821"/>
              <a:gd name="connsiteX6" fmla="*/ 287867 w 767543"/>
              <a:gd name="connsiteY6" fmla="*/ 1947687 h 2421821"/>
              <a:gd name="connsiteX7" fmla="*/ 237067 w 767543"/>
              <a:gd name="connsiteY7" fmla="*/ 1879954 h 2421821"/>
              <a:gd name="connsiteX8" fmla="*/ 135467 w 767543"/>
              <a:gd name="connsiteY8" fmla="*/ 1778354 h 2421821"/>
              <a:gd name="connsiteX9" fmla="*/ 84667 w 767543"/>
              <a:gd name="connsiteY9" fmla="*/ 1727554 h 2421821"/>
              <a:gd name="connsiteX10" fmla="*/ 33867 w 767543"/>
              <a:gd name="connsiteY10" fmla="*/ 1609021 h 2421821"/>
              <a:gd name="connsiteX11" fmla="*/ 0 w 767543"/>
              <a:gd name="connsiteY11" fmla="*/ 1507421 h 2421821"/>
              <a:gd name="connsiteX12" fmla="*/ 16933 w 767543"/>
              <a:gd name="connsiteY12" fmla="*/ 1371954 h 2421821"/>
              <a:gd name="connsiteX13" fmla="*/ 135467 w 767543"/>
              <a:gd name="connsiteY13" fmla="*/ 1219554 h 2421821"/>
              <a:gd name="connsiteX14" fmla="*/ 186267 w 767543"/>
              <a:gd name="connsiteY14" fmla="*/ 1134887 h 2421821"/>
              <a:gd name="connsiteX15" fmla="*/ 254000 w 767543"/>
              <a:gd name="connsiteY15" fmla="*/ 1101021 h 2421821"/>
              <a:gd name="connsiteX16" fmla="*/ 355600 w 767543"/>
              <a:gd name="connsiteY16" fmla="*/ 1016354 h 2421821"/>
              <a:gd name="connsiteX17" fmla="*/ 457200 w 767543"/>
              <a:gd name="connsiteY17" fmla="*/ 982487 h 2421821"/>
              <a:gd name="connsiteX18" fmla="*/ 508000 w 767543"/>
              <a:gd name="connsiteY18" fmla="*/ 965554 h 2421821"/>
              <a:gd name="connsiteX19" fmla="*/ 558800 w 767543"/>
              <a:gd name="connsiteY19" fmla="*/ 948621 h 2421821"/>
              <a:gd name="connsiteX20" fmla="*/ 677333 w 767543"/>
              <a:gd name="connsiteY20" fmla="*/ 813154 h 2421821"/>
              <a:gd name="connsiteX21" fmla="*/ 711200 w 767543"/>
              <a:gd name="connsiteY21" fmla="*/ 762354 h 2421821"/>
              <a:gd name="connsiteX22" fmla="*/ 626533 w 767543"/>
              <a:gd name="connsiteY22" fmla="*/ 118887 h 2421821"/>
              <a:gd name="connsiteX23" fmla="*/ 575733 w 767543"/>
              <a:gd name="connsiteY23" fmla="*/ 101954 h 2421821"/>
              <a:gd name="connsiteX24" fmla="*/ 592667 w 767543"/>
              <a:gd name="connsiteY24" fmla="*/ 51154 h 2421821"/>
              <a:gd name="connsiteX25" fmla="*/ 643467 w 767543"/>
              <a:gd name="connsiteY25" fmla="*/ 34221 h 2421821"/>
              <a:gd name="connsiteX26" fmla="*/ 728133 w 767543"/>
              <a:gd name="connsiteY26" fmla="*/ 354 h 242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7543" h="2421821">
                <a:moveTo>
                  <a:pt x="643467" y="2421821"/>
                </a:moveTo>
                <a:cubicBezTo>
                  <a:pt x="626534" y="2393599"/>
                  <a:pt x="614340" y="2361923"/>
                  <a:pt x="592667" y="2337154"/>
                </a:cubicBezTo>
                <a:cubicBezTo>
                  <a:pt x="577966" y="2320353"/>
                  <a:pt x="498432" y="2268687"/>
                  <a:pt x="474133" y="2252487"/>
                </a:cubicBezTo>
                <a:cubicBezTo>
                  <a:pt x="468489" y="2235554"/>
                  <a:pt x="465868" y="2217290"/>
                  <a:pt x="457200" y="2201687"/>
                </a:cubicBezTo>
                <a:cubicBezTo>
                  <a:pt x="437433" y="2166106"/>
                  <a:pt x="402339" y="2138701"/>
                  <a:pt x="389467" y="2100087"/>
                </a:cubicBezTo>
                <a:cubicBezTo>
                  <a:pt x="372496" y="2049175"/>
                  <a:pt x="375138" y="2042253"/>
                  <a:pt x="338667" y="1998487"/>
                </a:cubicBezTo>
                <a:cubicBezTo>
                  <a:pt x="323336" y="1980090"/>
                  <a:pt x="303452" y="1965869"/>
                  <a:pt x="287867" y="1947687"/>
                </a:cubicBezTo>
                <a:cubicBezTo>
                  <a:pt x="269500" y="1926259"/>
                  <a:pt x="255947" y="1900931"/>
                  <a:pt x="237067" y="1879954"/>
                </a:cubicBezTo>
                <a:cubicBezTo>
                  <a:pt x="205027" y="1844354"/>
                  <a:pt x="169334" y="1812221"/>
                  <a:pt x="135467" y="1778354"/>
                </a:cubicBezTo>
                <a:lnTo>
                  <a:pt x="84667" y="1727554"/>
                </a:lnTo>
                <a:cubicBezTo>
                  <a:pt x="30153" y="1564017"/>
                  <a:pt x="117572" y="1818285"/>
                  <a:pt x="33867" y="1609021"/>
                </a:cubicBezTo>
                <a:cubicBezTo>
                  <a:pt x="20609" y="1575876"/>
                  <a:pt x="0" y="1507421"/>
                  <a:pt x="0" y="1507421"/>
                </a:cubicBezTo>
                <a:cubicBezTo>
                  <a:pt x="5644" y="1462265"/>
                  <a:pt x="1627" y="1414810"/>
                  <a:pt x="16933" y="1371954"/>
                </a:cubicBezTo>
                <a:cubicBezTo>
                  <a:pt x="56881" y="1260101"/>
                  <a:pt x="80049" y="1293445"/>
                  <a:pt x="135467" y="1219554"/>
                </a:cubicBezTo>
                <a:cubicBezTo>
                  <a:pt x="155215" y="1193224"/>
                  <a:pt x="162994" y="1158160"/>
                  <a:pt x="186267" y="1134887"/>
                </a:cubicBezTo>
                <a:cubicBezTo>
                  <a:pt x="204116" y="1117038"/>
                  <a:pt x="231422" y="1112310"/>
                  <a:pt x="254000" y="1101021"/>
                </a:cubicBezTo>
                <a:cubicBezTo>
                  <a:pt x="285901" y="1069120"/>
                  <a:pt x="313165" y="1035214"/>
                  <a:pt x="355600" y="1016354"/>
                </a:cubicBezTo>
                <a:cubicBezTo>
                  <a:pt x="388222" y="1001855"/>
                  <a:pt x="423333" y="993776"/>
                  <a:pt x="457200" y="982487"/>
                </a:cubicBezTo>
                <a:lnTo>
                  <a:pt x="508000" y="965554"/>
                </a:lnTo>
                <a:lnTo>
                  <a:pt x="558800" y="948621"/>
                </a:lnTo>
                <a:cubicBezTo>
                  <a:pt x="643467" y="892176"/>
                  <a:pt x="598310" y="931688"/>
                  <a:pt x="677333" y="813154"/>
                </a:cubicBezTo>
                <a:lnTo>
                  <a:pt x="711200" y="762354"/>
                </a:lnTo>
                <a:cubicBezTo>
                  <a:pt x="691277" y="25200"/>
                  <a:pt x="897212" y="196224"/>
                  <a:pt x="626533" y="118887"/>
                </a:cubicBezTo>
                <a:cubicBezTo>
                  <a:pt x="609371" y="113983"/>
                  <a:pt x="592666" y="107598"/>
                  <a:pt x="575733" y="101954"/>
                </a:cubicBezTo>
                <a:cubicBezTo>
                  <a:pt x="581378" y="85021"/>
                  <a:pt x="580045" y="63775"/>
                  <a:pt x="592667" y="51154"/>
                </a:cubicBezTo>
                <a:cubicBezTo>
                  <a:pt x="605288" y="38533"/>
                  <a:pt x="627502" y="42203"/>
                  <a:pt x="643467" y="34221"/>
                </a:cubicBezTo>
                <a:cubicBezTo>
                  <a:pt x="723725" y="-5908"/>
                  <a:pt x="662786" y="354"/>
                  <a:pt x="728133" y="354"/>
                </a:cubicBezTo>
              </a:path>
            </a:pathLst>
          </a:custGeom>
          <a:ln>
            <a:solidFill>
              <a:srgbClr val="00723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912754"/>
            <a:endParaRPr lang="en-US" sz="1350">
              <a:solidFill>
                <a:srgbClr val="000000"/>
              </a:solidFill>
              <a:latin typeface="Arial"/>
            </a:endParaRPr>
          </a:p>
        </p:txBody>
      </p:sp>
      <p:sp>
        <p:nvSpPr>
          <p:cNvPr id="37" name="TextBox 36"/>
          <p:cNvSpPr txBox="1"/>
          <p:nvPr/>
        </p:nvSpPr>
        <p:spPr>
          <a:xfrm>
            <a:off x="3978246" y="3653417"/>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5" name="Content Placeholder 2"/>
          <p:cNvSpPr>
            <a:spLocks noGrp="1"/>
          </p:cNvSpPr>
          <p:nvPr>
            <p:ph idx="1"/>
          </p:nvPr>
        </p:nvSpPr>
        <p:spPr/>
        <p:txBody>
          <a:bodyPr/>
          <a:lstStyle/>
          <a:p>
            <a:pPr marL="0" indent="0">
              <a:buNone/>
            </a:pPr>
            <a:r>
              <a:rPr lang="en-US" sz="2396" kern="1200" dirty="0">
                <a:solidFill>
                  <a:schemeClr val="tx1"/>
                </a:solidFill>
                <a:latin typeface="Segoe UI Light" panose="020B0502040204020203" pitchFamily="34" charset="0"/>
                <a:cs typeface="Segoe UI Light" panose="020B0502040204020203" pitchFamily="34" charset="0"/>
              </a:rPr>
              <a:t>An influential point changes the estimates substantially when omitted</a:t>
            </a:r>
          </a:p>
        </p:txBody>
      </p:sp>
      <p:sp>
        <p:nvSpPr>
          <p:cNvPr id="38" name="Title 1"/>
          <p:cNvSpPr txBox="1">
            <a:spLocks/>
          </p:cNvSpPr>
          <p:nvPr/>
        </p:nvSpPr>
        <p:spPr bwMode="auto">
          <a:xfrm>
            <a:off x="960792" y="416224"/>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Influential Poi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1</a:t>
            </a:fld>
            <a:endParaRPr lang="en-US"/>
          </a:p>
        </p:txBody>
      </p:sp>
    </p:spTree>
    <p:extLst>
      <p:ext uri="{BB962C8B-B14F-4D97-AF65-F5344CB8AC3E}">
        <p14:creationId xmlns:p14="http://schemas.microsoft.com/office/powerpoint/2010/main" val="132032016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3850401" y="5512956"/>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3839822" y="2424049"/>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862037" y="555972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7553913" y="5502601"/>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4248708" y="5726475"/>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3530931" y="5160917"/>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3918105" y="248774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5256275" y="36225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a:off x="4015424" y="432076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6201988" y="360037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6633589" y="2464263"/>
            <a:ext cx="47603" cy="57123"/>
          </a:xfrm>
          <a:prstGeom prst="ellipse">
            <a:avLst/>
          </a:prstGeom>
          <a:solidFill>
            <a:schemeClr val="tx2"/>
          </a:solidFill>
          <a:ln>
            <a:solidFill>
              <a:srgbClr val="00723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FF"/>
              </a:solidFill>
              <a:latin typeface="Arial"/>
            </a:endParaRPr>
          </a:p>
        </p:txBody>
      </p:sp>
      <p:sp>
        <p:nvSpPr>
          <p:cNvPr id="16" name="Oval 15"/>
          <p:cNvSpPr/>
          <p:nvPr/>
        </p:nvSpPr>
        <p:spPr>
          <a:xfrm>
            <a:off x="7227039" y="331475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691049" y="356863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4351818" y="38383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4653304" y="386694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4234398" y="402245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4954790" y="356228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4780245" y="370827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6989025" y="354324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6820827" y="343217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7617383" y="331158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7944258" y="328301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7731630" y="342582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779909" y="360989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945607" y="2800641"/>
            <a:ext cx="4092596" cy="1218638"/>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aphicFrame>
        <p:nvGraphicFramePr>
          <p:cNvPr id="34" name="Object 2"/>
          <p:cNvGraphicFramePr>
            <a:graphicFrameLocks noChangeAspect="1"/>
          </p:cNvGraphicFramePr>
          <p:nvPr>
            <p:extLst/>
          </p:nvPr>
        </p:nvGraphicFramePr>
        <p:xfrm>
          <a:off x="6721185" y="2236943"/>
          <a:ext cx="342741" cy="456989"/>
        </p:xfrm>
        <a:graphic>
          <a:graphicData uri="http://schemas.openxmlformats.org/presentationml/2006/ole">
            <mc:AlternateContent xmlns:mc="http://schemas.openxmlformats.org/markup-compatibility/2006">
              <mc:Choice xmlns:v="urn:schemas-microsoft-com:vml" Requires="v">
                <p:oleObj spid="_x0000_s16396" name="Equation" r:id="rId4" imgW="152400" imgH="203200" progId="Equation.DSMT4">
                  <p:embed/>
                </p:oleObj>
              </mc:Choice>
              <mc:Fallback>
                <p:oleObj name="Equation" r:id="rId4" imgW="152400" imgH="203200" progId="Equation.DSMT4">
                  <p:embed/>
                  <p:pic>
                    <p:nvPicPr>
                      <p:cNvPr id="34" name="Object 2"/>
                      <p:cNvPicPr>
                        <a:picLocks noChangeAspect="1" noChangeArrowheads="1"/>
                      </p:cNvPicPr>
                      <p:nvPr/>
                    </p:nvPicPr>
                    <p:blipFill>
                      <a:blip r:embed="rId5"/>
                      <a:srcRect/>
                      <a:stretch>
                        <a:fillRect/>
                      </a:stretch>
                    </p:blipFill>
                    <p:spPr bwMode="auto">
                      <a:xfrm>
                        <a:off x="6721185" y="2236943"/>
                        <a:ext cx="342741" cy="456989"/>
                      </a:xfrm>
                      <a:prstGeom prst="rect">
                        <a:avLst/>
                      </a:prstGeom>
                      <a:noFill/>
                      <a:extLst/>
                    </p:spPr>
                  </p:pic>
                </p:oleObj>
              </mc:Fallback>
            </mc:AlternateContent>
          </a:graphicData>
        </a:graphic>
      </p:graphicFrame>
      <p:graphicFrame>
        <p:nvGraphicFramePr>
          <p:cNvPr id="35" name="Object 2"/>
          <p:cNvGraphicFramePr>
            <a:graphicFrameLocks noChangeAspect="1"/>
          </p:cNvGraphicFramePr>
          <p:nvPr>
            <p:extLst/>
          </p:nvPr>
        </p:nvGraphicFramePr>
        <p:xfrm>
          <a:off x="5502550" y="2922425"/>
          <a:ext cx="799730" cy="456989"/>
        </p:xfrm>
        <a:graphic>
          <a:graphicData uri="http://schemas.openxmlformats.org/presentationml/2006/ole">
            <mc:AlternateContent xmlns:mc="http://schemas.openxmlformats.org/markup-compatibility/2006">
              <mc:Choice xmlns:v="urn:schemas-microsoft-com:vml" Requires="v">
                <p:oleObj spid="_x0000_s16397" name="Equation" r:id="rId6" imgW="355600" imgH="203200" progId="Equation.DSMT4">
                  <p:embed/>
                </p:oleObj>
              </mc:Choice>
              <mc:Fallback>
                <p:oleObj name="Equation" r:id="rId6" imgW="355600" imgH="203200" progId="Equation.DSMT4">
                  <p:embed/>
                  <p:pic>
                    <p:nvPicPr>
                      <p:cNvPr id="35" name="Object 2"/>
                      <p:cNvPicPr>
                        <a:picLocks noChangeAspect="1" noChangeArrowheads="1"/>
                      </p:cNvPicPr>
                      <p:nvPr/>
                    </p:nvPicPr>
                    <p:blipFill>
                      <a:blip r:embed="rId7"/>
                      <a:srcRect/>
                      <a:stretch>
                        <a:fillRect/>
                      </a:stretch>
                    </p:blipFill>
                    <p:spPr bwMode="auto">
                      <a:xfrm>
                        <a:off x="5502550" y="2922425"/>
                        <a:ext cx="799730" cy="456989"/>
                      </a:xfrm>
                      <a:prstGeom prst="rect">
                        <a:avLst/>
                      </a:prstGeom>
                      <a:noFill/>
                      <a:extLst/>
                    </p:spPr>
                  </p:pic>
                </p:oleObj>
              </mc:Fallback>
            </mc:AlternateContent>
          </a:graphicData>
        </a:graphic>
      </p:graphicFrame>
      <p:cxnSp>
        <p:nvCxnSpPr>
          <p:cNvPr id="31" name="Straight Connector 30"/>
          <p:cNvCxnSpPr/>
          <p:nvPr/>
        </p:nvCxnSpPr>
        <p:spPr>
          <a:xfrm flipH="1">
            <a:off x="6248330" y="3206854"/>
            <a:ext cx="596625" cy="12693"/>
          </a:xfrm>
          <a:prstGeom prst="line">
            <a:avLst/>
          </a:prstGeom>
          <a:ln>
            <a:solidFill>
              <a:srgbClr val="007233"/>
            </a:solidFill>
            <a:prstDash val="sysDash"/>
          </a:ln>
        </p:spPr>
        <p:style>
          <a:lnRef idx="2">
            <a:schemeClr val="accent1"/>
          </a:lnRef>
          <a:fillRef idx="0">
            <a:schemeClr val="accent1"/>
          </a:fillRef>
          <a:effectRef idx="1">
            <a:schemeClr val="accent1"/>
          </a:effectRef>
          <a:fontRef idx="minor">
            <a:schemeClr val="tx1"/>
          </a:fontRef>
        </p:style>
      </p:cxnSp>
      <p:sp>
        <p:nvSpPr>
          <p:cNvPr id="36" name="Content Placeholder 2"/>
          <p:cNvSpPr>
            <a:spLocks noGrp="1"/>
          </p:cNvSpPr>
          <p:nvPr>
            <p:ph idx="1"/>
          </p:nvPr>
        </p:nvSpPr>
        <p:spPr/>
        <p:txBody>
          <a:bodyPr/>
          <a:lstStyle/>
          <a:p>
            <a:pPr marL="0" indent="0">
              <a:buNone/>
            </a:pPr>
            <a:r>
              <a:rPr lang="en-US" sz="2400" kern="1200" dirty="0">
                <a:solidFill>
                  <a:schemeClr val="tx1"/>
                </a:solidFill>
                <a:latin typeface="Segoe UI Light" panose="020B0502040204020203" pitchFamily="34" charset="0"/>
                <a:cs typeface="Segoe UI Light" panose="020B0502040204020203" pitchFamily="34" charset="0"/>
              </a:rPr>
              <a:t>An influential point changes the estimates substantially when omitted</a:t>
            </a:r>
          </a:p>
        </p:txBody>
      </p:sp>
      <p:sp>
        <p:nvSpPr>
          <p:cNvPr id="37" name="Title 1"/>
          <p:cNvSpPr txBox="1">
            <a:spLocks/>
          </p:cNvSpPr>
          <p:nvPr/>
        </p:nvSpPr>
        <p:spPr bwMode="auto">
          <a:xfrm>
            <a:off x="960792" y="494361"/>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Influential Poi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2</a:t>
            </a:fld>
            <a:endParaRPr lang="en-US"/>
          </a:p>
        </p:txBody>
      </p:sp>
    </p:spTree>
    <p:extLst>
      <p:ext uri="{BB962C8B-B14F-4D97-AF65-F5344CB8AC3E}">
        <p14:creationId xmlns:p14="http://schemas.microsoft.com/office/powerpoint/2010/main" val="279002202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3850401" y="5512956"/>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3839822" y="2424049"/>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862037" y="555972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7575088" y="5559725"/>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4274067" y="5751222"/>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3530931" y="5160917"/>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3918105" y="248774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5256275" y="36225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a:off x="4015424" y="4320764"/>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6201988" y="360037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a:off x="7227039" y="331475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691049" y="356863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4351818" y="383838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4653304" y="386694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4234398" y="402245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4954790" y="356228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4780245" y="370827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6989025" y="354324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6820827" y="343217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7617383" y="331158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7944258" y="328301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7731630" y="342582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779909" y="360989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945607" y="3257630"/>
            <a:ext cx="4460726" cy="73626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1" name="Content Placeholder 2"/>
          <p:cNvSpPr>
            <a:spLocks noGrp="1"/>
          </p:cNvSpPr>
          <p:nvPr>
            <p:ph idx="1"/>
          </p:nvPr>
        </p:nvSpPr>
        <p:spPr/>
        <p:txBody>
          <a:bodyPr/>
          <a:lstStyle/>
          <a:p>
            <a:pPr marL="0" indent="0">
              <a:buNone/>
            </a:pPr>
            <a:r>
              <a:rPr lang="en-US" sz="2396" kern="1200" dirty="0">
                <a:solidFill>
                  <a:schemeClr val="tx1"/>
                </a:solidFill>
                <a:latin typeface="Segoe UI Light" panose="020B0502040204020203" pitchFamily="34" charset="0"/>
                <a:cs typeface="Segoe UI Light" panose="020B0502040204020203" pitchFamily="34" charset="0"/>
              </a:rPr>
              <a:t>An influential point changes the estimates substantially when omitted</a:t>
            </a:r>
          </a:p>
        </p:txBody>
      </p:sp>
      <p:sp>
        <p:nvSpPr>
          <p:cNvPr id="33" name="Title 1"/>
          <p:cNvSpPr txBox="1">
            <a:spLocks/>
          </p:cNvSpPr>
          <p:nvPr/>
        </p:nvSpPr>
        <p:spPr bwMode="auto">
          <a:xfrm>
            <a:off x="960792" y="374140"/>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Influential Points</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3</a:t>
            </a:fld>
            <a:endParaRPr lang="en-US"/>
          </a:p>
        </p:txBody>
      </p:sp>
    </p:spTree>
    <p:extLst>
      <p:ext uri="{BB962C8B-B14F-4D97-AF65-F5344CB8AC3E}">
        <p14:creationId xmlns:p14="http://schemas.microsoft.com/office/powerpoint/2010/main" val="17529187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24</a:t>
            </a:fld>
            <a:endParaRPr lang="en-US"/>
          </a:p>
        </p:txBody>
      </p:sp>
      <p:sp>
        <p:nvSpPr>
          <p:cNvPr id="6" name="TextBox 5"/>
          <p:cNvSpPr txBox="1"/>
          <p:nvPr/>
        </p:nvSpPr>
        <p:spPr>
          <a:xfrm>
            <a:off x="2749397" y="2516290"/>
            <a:ext cx="6997442" cy="784276"/>
          </a:xfrm>
          <a:prstGeom prst="rect">
            <a:avLst/>
          </a:prstGeom>
          <a:noFill/>
        </p:spPr>
        <p:txBody>
          <a:bodyPr wrap="square" rtlCol="0">
            <a:spAutoFit/>
          </a:bodyPr>
          <a:lstStyle/>
          <a:p>
            <a:pPr algn="ctr" defTabSz="455541"/>
            <a:r>
              <a:rPr lang="en-US" sz="4400" dirty="0">
                <a:solidFill>
                  <a:srgbClr val="FFFFFF"/>
                </a:solidFill>
                <a:cs typeface="Segoe UI Light" panose="020B0502040204020203" pitchFamily="34" charset="0"/>
              </a:rPr>
              <a:t>Outlier: Leverage</a:t>
            </a:r>
          </a:p>
        </p:txBody>
      </p:sp>
    </p:spTree>
    <p:extLst>
      <p:ext uri="{BB962C8B-B14F-4D97-AF65-F5344CB8AC3E}">
        <p14:creationId xmlns:p14="http://schemas.microsoft.com/office/powerpoint/2010/main" val="17766541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2593222" y="4968165"/>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2582643" y="1879258"/>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2604857" y="501493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6296734" y="4957811"/>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2987191" y="5096172"/>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2273751" y="4616126"/>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2660925" y="194295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3999096" y="307779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flipV="1">
            <a:off x="3229245" y="3369760"/>
            <a:ext cx="38677" cy="4741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4944809" y="305558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5376409" y="273188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a:off x="4820448" y="2789004"/>
            <a:ext cx="94665" cy="11325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4433870" y="3023845"/>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3771081" y="306808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3396125" y="332215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6919226" y="247781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3697610" y="301749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3523066" y="316348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4629495" y="307362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5563648" y="2887383"/>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5257853" y="284195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5584728" y="281339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5372100" y="295620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4522729" y="306510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2844120" y="2386691"/>
            <a:ext cx="4947672" cy="977554"/>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748886" y="2851903"/>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2" name="Title 1"/>
          <p:cNvSpPr txBox="1">
            <a:spLocks/>
          </p:cNvSpPr>
          <p:nvPr/>
        </p:nvSpPr>
        <p:spPr bwMode="auto">
          <a:xfrm>
            <a:off x="981161" y="352411"/>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5</a:t>
            </a:fld>
            <a:endParaRPr lang="en-US"/>
          </a:p>
        </p:txBody>
      </p:sp>
    </p:spTree>
    <p:extLst>
      <p:ext uri="{BB962C8B-B14F-4D97-AF65-F5344CB8AC3E}">
        <p14:creationId xmlns:p14="http://schemas.microsoft.com/office/powerpoint/2010/main" val="35471404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2593222" y="4912144"/>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2582643" y="1823237"/>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2604857" y="4958914"/>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6296734" y="4901790"/>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3016887" y="5064499"/>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2273751" y="456010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2660925" y="1886934"/>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3999096" y="3021775"/>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flipV="1">
            <a:off x="3229245" y="3313739"/>
            <a:ext cx="38677" cy="4741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4944809" y="2999560"/>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5376409" y="2675860"/>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a:off x="4821232" y="2970002"/>
            <a:ext cx="93881" cy="137457"/>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2795" dirty="0">
              <a:solidFill>
                <a:srgbClr val="FF0000"/>
              </a:solidFill>
              <a:latin typeface="Arial"/>
            </a:endParaRPr>
          </a:p>
        </p:txBody>
      </p:sp>
      <p:sp>
        <p:nvSpPr>
          <p:cNvPr id="17" name="Oval 16"/>
          <p:cNvSpPr/>
          <p:nvPr/>
        </p:nvSpPr>
        <p:spPr>
          <a:xfrm>
            <a:off x="4433870" y="2967825"/>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3771081" y="301206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3396125" y="3266137"/>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6919226" y="2421790"/>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3697610" y="296147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3523066" y="310746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4629495" y="3017605"/>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5563648" y="283136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5257853" y="278593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5584728" y="2757375"/>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5372100" y="2900185"/>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4522729" y="300908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2844121" y="2339465"/>
            <a:ext cx="4977821" cy="96876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748886" y="2795883"/>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2" name="Title 1"/>
          <p:cNvSpPr txBox="1">
            <a:spLocks/>
          </p:cNvSpPr>
          <p:nvPr/>
        </p:nvSpPr>
        <p:spPr bwMode="auto">
          <a:xfrm>
            <a:off x="981161" y="454273"/>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6</a:t>
            </a:fld>
            <a:endParaRPr lang="en-US"/>
          </a:p>
        </p:txBody>
      </p:sp>
    </p:spTree>
    <p:extLst>
      <p:ext uri="{BB962C8B-B14F-4D97-AF65-F5344CB8AC3E}">
        <p14:creationId xmlns:p14="http://schemas.microsoft.com/office/powerpoint/2010/main" val="242848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2755782" y="4963226"/>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2745203" y="1874319"/>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2767417" y="5009996"/>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6459294" y="4952871"/>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3149751" y="5101994"/>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2436311" y="4611187"/>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2823485" y="1938016"/>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4161656" y="307285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flipV="1">
            <a:off x="3391805" y="3364821"/>
            <a:ext cx="38677" cy="4741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5107369" y="305064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5538969" y="272694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a:off x="5030070" y="284019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4596430" y="301890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3933641" y="306314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3558685" y="331721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7005594" y="2470430"/>
            <a:ext cx="77204" cy="59565"/>
          </a:xfrm>
          <a:prstGeom prst="ellipse">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1" name="Oval 20"/>
          <p:cNvSpPr/>
          <p:nvPr/>
        </p:nvSpPr>
        <p:spPr>
          <a:xfrm>
            <a:off x="3860170" y="301255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3685626" y="315854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4792055" y="306868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5726208" y="288244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5420413" y="2837020"/>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5747288" y="280845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5534660" y="295126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4685289" y="3060162"/>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3006680" y="2381751"/>
            <a:ext cx="4947672" cy="977554"/>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911446" y="2846964"/>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2" name="Title 1"/>
          <p:cNvSpPr txBox="1">
            <a:spLocks/>
          </p:cNvSpPr>
          <p:nvPr/>
        </p:nvSpPr>
        <p:spPr bwMode="auto">
          <a:xfrm>
            <a:off x="981161" y="445250"/>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7</a:t>
            </a:fld>
            <a:endParaRPr lang="en-US"/>
          </a:p>
        </p:txBody>
      </p:sp>
    </p:spTree>
    <p:extLst>
      <p:ext uri="{BB962C8B-B14F-4D97-AF65-F5344CB8AC3E}">
        <p14:creationId xmlns:p14="http://schemas.microsoft.com/office/powerpoint/2010/main" val="33276010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2679723" y="4764965"/>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2669144" y="1676058"/>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2691358" y="481173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7" name="TextBox 6"/>
          <p:cNvSpPr txBox="1"/>
          <p:nvPr/>
        </p:nvSpPr>
        <p:spPr>
          <a:xfrm>
            <a:off x="6383235" y="4754611"/>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8" name="TextBox 7"/>
          <p:cNvSpPr txBox="1"/>
          <p:nvPr/>
        </p:nvSpPr>
        <p:spPr>
          <a:xfrm>
            <a:off x="3049890" y="4920814"/>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2360252" y="4412926"/>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2747426" y="173975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2" name="Oval 11"/>
          <p:cNvSpPr/>
          <p:nvPr/>
        </p:nvSpPr>
        <p:spPr>
          <a:xfrm>
            <a:off x="4085597" y="287459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3" name="Oval 12"/>
          <p:cNvSpPr/>
          <p:nvPr/>
        </p:nvSpPr>
        <p:spPr>
          <a:xfrm flipV="1">
            <a:off x="3315746" y="3166560"/>
            <a:ext cx="38677" cy="4741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4" name="Oval 13"/>
          <p:cNvSpPr/>
          <p:nvPr/>
        </p:nvSpPr>
        <p:spPr>
          <a:xfrm>
            <a:off x="5031310" y="285238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5" name="Oval 14"/>
          <p:cNvSpPr/>
          <p:nvPr/>
        </p:nvSpPr>
        <p:spPr>
          <a:xfrm>
            <a:off x="5462910" y="252868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a:off x="4954011" y="2641932"/>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4520371" y="2820645"/>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3857582" y="286488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3482625" y="311895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7005727" y="2512626"/>
            <a:ext cx="80245" cy="97570"/>
          </a:xfrm>
          <a:prstGeom prst="ellipse">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0000"/>
              </a:solidFill>
              <a:latin typeface="Arial"/>
            </a:endParaRPr>
          </a:p>
        </p:txBody>
      </p:sp>
      <p:sp>
        <p:nvSpPr>
          <p:cNvPr id="21" name="Oval 20"/>
          <p:cNvSpPr/>
          <p:nvPr/>
        </p:nvSpPr>
        <p:spPr>
          <a:xfrm>
            <a:off x="3784111" y="281429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3609566" y="296028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4715995" y="287042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4" name="Oval 23"/>
          <p:cNvSpPr/>
          <p:nvPr/>
        </p:nvSpPr>
        <p:spPr>
          <a:xfrm>
            <a:off x="5650149" y="2684183"/>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5344354" y="263875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5671228" y="261019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5458601" y="275300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4609230" y="286190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29" name="Straight Connector 28"/>
          <p:cNvCxnSpPr/>
          <p:nvPr/>
        </p:nvCxnSpPr>
        <p:spPr>
          <a:xfrm flipV="1">
            <a:off x="2897434" y="2357309"/>
            <a:ext cx="5026876" cy="742607"/>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2835387" y="2648703"/>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32" name="Title 1"/>
          <p:cNvSpPr txBox="1">
            <a:spLocks/>
          </p:cNvSpPr>
          <p:nvPr/>
        </p:nvSpPr>
        <p:spPr bwMode="auto">
          <a:xfrm>
            <a:off x="1006136" y="442055"/>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28</a:t>
            </a:fld>
            <a:endParaRPr lang="en-US"/>
          </a:p>
        </p:txBody>
      </p:sp>
    </p:spTree>
    <p:extLst>
      <p:ext uri="{BB962C8B-B14F-4D97-AF65-F5344CB8AC3E}">
        <p14:creationId xmlns:p14="http://schemas.microsoft.com/office/powerpoint/2010/main" val="25033762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63885" y="1204242"/>
            <a:ext cx="10270415" cy="4351338"/>
          </a:xfrm>
        </p:spPr>
        <p:txBody>
          <a:bodyPr/>
          <a:lstStyle/>
          <a:p>
            <a:pPr marL="456377" indent="-456377">
              <a:buClr>
                <a:schemeClr val="tx2"/>
              </a:buClr>
              <a:buFont typeface="Wingdings" panose="05000000000000000000" pitchFamily="2" charset="2"/>
              <a:buChar char="§"/>
            </a:pPr>
            <a:r>
              <a:rPr lang="en-US" sz="1996" kern="1200" dirty="0">
                <a:solidFill>
                  <a:schemeClr val="tx1"/>
                </a:solidFill>
                <a:latin typeface="Segoe UI Light" panose="020B0502040204020203" pitchFamily="34" charset="0"/>
                <a:cs typeface="Segoe UI Light" panose="020B0502040204020203" pitchFamily="34" charset="0"/>
              </a:rPr>
              <a:t>If you move xi, then f(xi) moves proportionally. The proportionality constant is called the leverage of point </a:t>
            </a:r>
            <a:r>
              <a:rPr lang="en-US" sz="1996" kern="1200" dirty="0" err="1">
                <a:solidFill>
                  <a:schemeClr val="tx1"/>
                </a:solidFill>
                <a:latin typeface="Segoe UI Light" panose="020B0502040204020203" pitchFamily="34" charset="0"/>
                <a:cs typeface="Segoe UI Light" panose="020B0502040204020203" pitchFamily="34" charset="0"/>
              </a:rPr>
              <a:t>i</a:t>
            </a:r>
            <a:endParaRPr lang="en-US" sz="1996" kern="1200" dirty="0">
              <a:solidFill>
                <a:schemeClr val="tx1"/>
              </a:solidFill>
              <a:latin typeface="Segoe UI Light" panose="020B0502040204020203" pitchFamily="34" charset="0"/>
              <a:cs typeface="Segoe UI Light" panose="020B0502040204020203" pitchFamily="34" charset="0"/>
            </a:endParaRPr>
          </a:p>
          <a:p>
            <a:pPr marL="456377" indent="-456377">
              <a:buClr>
                <a:schemeClr val="tx2"/>
              </a:buClr>
              <a:buFont typeface="Wingdings" panose="05000000000000000000" pitchFamily="2" charset="2"/>
              <a:buChar char="§"/>
            </a:pPr>
            <a:r>
              <a:rPr lang="en-US" sz="1996" kern="1200" dirty="0">
                <a:solidFill>
                  <a:schemeClr val="tx1"/>
                </a:solidFill>
                <a:latin typeface="Segoe UI Light" panose="020B0502040204020203" pitchFamily="34" charset="0"/>
                <a:cs typeface="Segoe UI Light" panose="020B0502040204020203" pitchFamily="34" charset="0"/>
              </a:rPr>
              <a:t>Leverage depends on xi but not on yi. It depends on how far away xi is from the mean of the xi’s</a:t>
            </a:r>
          </a:p>
          <a:p>
            <a:r>
              <a:rPr lang="en-US" dirty="0">
                <a:solidFill>
                  <a:schemeClr val="bg1"/>
                </a:solidFill>
                <a:latin typeface="Segoe UI Light" panose="020B0502040204020203" pitchFamily="34" charset="0"/>
                <a:cs typeface="Segoe UI Light" panose="020B0502040204020203" pitchFamily="34" charset="0"/>
              </a:rPr>
              <a:t>Influential points do not necessarily have high leverage. </a:t>
            </a:r>
          </a:p>
          <a:p>
            <a:r>
              <a:rPr lang="en-US" dirty="0">
                <a:solidFill>
                  <a:schemeClr val="bg1"/>
                </a:solidFill>
                <a:latin typeface="Segoe UI Light" panose="020B0502040204020203" pitchFamily="34" charset="0"/>
                <a:cs typeface="Segoe UI Light" panose="020B0502040204020203" pitchFamily="34" charset="0"/>
              </a:rPr>
              <a:t>High leverage points are not necessarily influential.</a:t>
            </a:r>
          </a:p>
          <a:p>
            <a:r>
              <a:rPr lang="en-US" dirty="0">
                <a:solidFill>
                  <a:schemeClr val="bg1"/>
                </a:solidFill>
                <a:latin typeface="Segoe UI Light" panose="020B0502040204020203" pitchFamily="34" charset="0"/>
                <a:cs typeface="Segoe UI Light" panose="020B0502040204020203" pitchFamily="34" charset="0"/>
              </a:rPr>
              <a:t>The leverage of x</a:t>
            </a:r>
            <a:r>
              <a:rPr lang="en-US" baseline="-25000" dirty="0">
                <a:solidFill>
                  <a:schemeClr val="bg1"/>
                </a:solidFill>
                <a:latin typeface="Segoe UI Light" panose="020B0502040204020203" pitchFamily="34" charset="0"/>
                <a:cs typeface="Segoe UI Light" panose="020B0502040204020203" pitchFamily="34" charset="0"/>
              </a:rPr>
              <a:t>i</a:t>
            </a:r>
            <a:r>
              <a:rPr lang="en-US" dirty="0">
                <a:solidFill>
                  <a:schemeClr val="bg1"/>
                </a:solidFill>
                <a:latin typeface="Segoe UI Light" panose="020B0502040204020203" pitchFamily="34" charset="0"/>
                <a:cs typeface="Segoe UI Light" panose="020B0502040204020203" pitchFamily="34" charset="0"/>
              </a:rPr>
              <a:t> measures the </a:t>
            </a:r>
            <a:r>
              <a:rPr lang="en-US" baseline="-25000" dirty="0" err="1">
                <a:solidFill>
                  <a:schemeClr val="bg1"/>
                </a:solidFill>
                <a:latin typeface="Segoe UI Light" panose="020B0502040204020203" pitchFamily="34" charset="0"/>
                <a:cs typeface="Segoe UI Light" panose="020B0502040204020203" pitchFamily="34" charset="0"/>
              </a:rPr>
              <a:t>i</a:t>
            </a:r>
            <a:r>
              <a:rPr lang="en-US" dirty="0">
                <a:solidFill>
                  <a:schemeClr val="bg1"/>
                </a:solidFill>
                <a:latin typeface="Segoe UI Light" panose="020B0502040204020203" pitchFamily="34" charset="0"/>
                <a:cs typeface="Segoe UI Light" panose="020B0502040204020203" pitchFamily="34" charset="0"/>
              </a:rPr>
              <a:t>).</a:t>
            </a:r>
          </a:p>
        </p:txBody>
      </p:sp>
      <p:sp>
        <p:nvSpPr>
          <p:cNvPr id="6" name="Title 1"/>
          <p:cNvSpPr txBox="1">
            <a:spLocks/>
          </p:cNvSpPr>
          <p:nvPr/>
        </p:nvSpPr>
        <p:spPr bwMode="auto">
          <a:xfrm>
            <a:off x="983384" y="394478"/>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cxnSp>
        <p:nvCxnSpPr>
          <p:cNvPr id="7" name="Straight Arrow Connector 6"/>
          <p:cNvCxnSpPr/>
          <p:nvPr/>
        </p:nvCxnSpPr>
        <p:spPr>
          <a:xfrm>
            <a:off x="3174565" y="5660175"/>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3163986" y="2571268"/>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3186200" y="5706945"/>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0" name="TextBox 9"/>
          <p:cNvSpPr txBox="1"/>
          <p:nvPr/>
        </p:nvSpPr>
        <p:spPr>
          <a:xfrm>
            <a:off x="6878077" y="5649821"/>
            <a:ext cx="702738"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2000</a:t>
            </a:r>
          </a:p>
        </p:txBody>
      </p:sp>
      <p:sp>
        <p:nvSpPr>
          <p:cNvPr id="11" name="TextBox 10"/>
          <p:cNvSpPr txBox="1"/>
          <p:nvPr/>
        </p:nvSpPr>
        <p:spPr>
          <a:xfrm>
            <a:off x="3568534" y="5840021"/>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12" name="TextBox 11"/>
          <p:cNvSpPr txBox="1"/>
          <p:nvPr/>
        </p:nvSpPr>
        <p:spPr>
          <a:xfrm>
            <a:off x="2855094" y="5308137"/>
            <a:ext cx="313929"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0</a:t>
            </a:r>
          </a:p>
        </p:txBody>
      </p:sp>
      <p:sp>
        <p:nvSpPr>
          <p:cNvPr id="13" name="TextBox 12"/>
          <p:cNvSpPr txBox="1"/>
          <p:nvPr/>
        </p:nvSpPr>
        <p:spPr>
          <a:xfrm>
            <a:off x="3242268" y="2634965"/>
            <a:ext cx="899543" cy="399370"/>
          </a:xfrm>
          <a:prstGeom prst="rect">
            <a:avLst/>
          </a:prstGeom>
          <a:noFill/>
        </p:spPr>
        <p:txBody>
          <a:bodyPr wrap="none" rtlCol="0">
            <a:spAutoFit/>
          </a:bodyPr>
          <a:lstStyle/>
          <a:p>
            <a:pPr defTabSz="912754"/>
            <a:r>
              <a:rPr lang="en-US" sz="1996" dirty="0">
                <a:solidFill>
                  <a:srgbClr val="000000"/>
                </a:solidFill>
                <a:latin typeface="Calibri" panose="020F0502020204030204" pitchFamily="34" charset="0"/>
              </a:rPr>
              <a:t>1,000K</a:t>
            </a:r>
          </a:p>
        </p:txBody>
      </p:sp>
      <p:sp>
        <p:nvSpPr>
          <p:cNvPr id="14" name="TextBox 13"/>
          <p:cNvSpPr txBox="1"/>
          <p:nvPr/>
        </p:nvSpPr>
        <p:spPr>
          <a:xfrm>
            <a:off x="3330229" y="3543914"/>
            <a:ext cx="587535" cy="399370"/>
          </a:xfrm>
          <a:prstGeom prst="rect">
            <a:avLst/>
          </a:prstGeom>
          <a:noFill/>
        </p:spPr>
        <p:txBody>
          <a:bodyPr wrap="none" rtlCol="0">
            <a:spAutoFit/>
          </a:bodyPr>
          <a:lstStyle/>
          <a:p>
            <a:pPr defTabSz="912754"/>
            <a:r>
              <a:rPr lang="en-US" sz="1996" i="1" dirty="0">
                <a:solidFill>
                  <a:srgbClr val="000000"/>
                </a:solidFill>
                <a:latin typeface="Calibri" panose="020F0502020204030204" pitchFamily="34" charset="0"/>
              </a:rPr>
              <a:t>f</a:t>
            </a:r>
            <a:r>
              <a:rPr lang="en-US" sz="1996" dirty="0">
                <a:solidFill>
                  <a:srgbClr val="000000"/>
                </a:solidFill>
                <a:latin typeface="Calibri" panose="020F0502020204030204" pitchFamily="34" charset="0"/>
              </a:rPr>
              <a:t>(</a:t>
            </a:r>
            <a:r>
              <a:rPr lang="en-US" sz="1996" i="1" dirty="0">
                <a:solidFill>
                  <a:srgbClr val="000000"/>
                </a:solidFill>
                <a:latin typeface="Calibri" panose="020F0502020204030204" pitchFamily="34" charset="0"/>
              </a:rPr>
              <a:t>x</a:t>
            </a:r>
            <a:r>
              <a:rPr lang="en-US" sz="1996" dirty="0">
                <a:solidFill>
                  <a:srgbClr val="000000"/>
                </a:solidFill>
                <a:latin typeface="Calibri" panose="020F0502020204030204" pitchFamily="34" charset="0"/>
              </a:rPr>
              <a:t>) </a:t>
            </a:r>
          </a:p>
        </p:txBody>
      </p:sp>
      <p:sp>
        <p:nvSpPr>
          <p:cNvPr id="15" name="Oval 14"/>
          <p:cNvSpPr/>
          <p:nvPr/>
        </p:nvSpPr>
        <p:spPr>
          <a:xfrm>
            <a:off x="4580439" y="376980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6" name="Oval 15"/>
          <p:cNvSpPr/>
          <p:nvPr/>
        </p:nvSpPr>
        <p:spPr>
          <a:xfrm flipV="1">
            <a:off x="3810588" y="4061771"/>
            <a:ext cx="38677" cy="4741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7" name="Oval 16"/>
          <p:cNvSpPr/>
          <p:nvPr/>
        </p:nvSpPr>
        <p:spPr>
          <a:xfrm>
            <a:off x="5526152" y="374759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8" name="Oval 17"/>
          <p:cNvSpPr/>
          <p:nvPr/>
        </p:nvSpPr>
        <p:spPr>
          <a:xfrm>
            <a:off x="5957752" y="3423891"/>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19" name="Oval 18"/>
          <p:cNvSpPr/>
          <p:nvPr/>
        </p:nvSpPr>
        <p:spPr>
          <a:xfrm>
            <a:off x="5448853" y="353714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0" name="Oval 19"/>
          <p:cNvSpPr/>
          <p:nvPr/>
        </p:nvSpPr>
        <p:spPr>
          <a:xfrm>
            <a:off x="5015213" y="371585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1" name="Oval 20"/>
          <p:cNvSpPr/>
          <p:nvPr/>
        </p:nvSpPr>
        <p:spPr>
          <a:xfrm>
            <a:off x="4352424" y="376009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2" name="Oval 21"/>
          <p:cNvSpPr/>
          <p:nvPr/>
        </p:nvSpPr>
        <p:spPr>
          <a:xfrm>
            <a:off x="3977467" y="401416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3" name="Oval 22"/>
          <p:cNvSpPr/>
          <p:nvPr/>
        </p:nvSpPr>
        <p:spPr>
          <a:xfrm>
            <a:off x="7500569" y="3169821"/>
            <a:ext cx="47603" cy="57123"/>
          </a:xfrm>
          <a:prstGeom prst="ellipse">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000000"/>
              </a:solidFill>
              <a:latin typeface="Arial"/>
            </a:endParaRPr>
          </a:p>
        </p:txBody>
      </p:sp>
      <p:sp>
        <p:nvSpPr>
          <p:cNvPr id="24" name="Oval 23"/>
          <p:cNvSpPr/>
          <p:nvPr/>
        </p:nvSpPr>
        <p:spPr>
          <a:xfrm>
            <a:off x="4278953" y="370950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5" name="Oval 24"/>
          <p:cNvSpPr/>
          <p:nvPr/>
        </p:nvSpPr>
        <p:spPr>
          <a:xfrm>
            <a:off x="4104408" y="385549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6" name="Oval 25"/>
          <p:cNvSpPr/>
          <p:nvPr/>
        </p:nvSpPr>
        <p:spPr>
          <a:xfrm>
            <a:off x="5210837" y="376563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7" name="Oval 26"/>
          <p:cNvSpPr/>
          <p:nvPr/>
        </p:nvSpPr>
        <p:spPr>
          <a:xfrm>
            <a:off x="6144991" y="3579393"/>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8" name="Oval 27"/>
          <p:cNvSpPr/>
          <p:nvPr/>
        </p:nvSpPr>
        <p:spPr>
          <a:xfrm>
            <a:off x="5839196" y="353396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29" name="Oval 28"/>
          <p:cNvSpPr/>
          <p:nvPr/>
        </p:nvSpPr>
        <p:spPr>
          <a:xfrm>
            <a:off x="6166071" y="350540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30" name="Oval 29"/>
          <p:cNvSpPr/>
          <p:nvPr/>
        </p:nvSpPr>
        <p:spPr>
          <a:xfrm>
            <a:off x="5953443" y="364821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sp>
        <p:nvSpPr>
          <p:cNvPr id="31" name="Oval 30"/>
          <p:cNvSpPr/>
          <p:nvPr/>
        </p:nvSpPr>
        <p:spPr>
          <a:xfrm>
            <a:off x="5104072" y="375711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350">
              <a:solidFill>
                <a:srgbClr val="FFFFFF"/>
              </a:solidFill>
              <a:latin typeface="Arial"/>
            </a:endParaRPr>
          </a:p>
        </p:txBody>
      </p:sp>
      <p:cxnSp>
        <p:nvCxnSpPr>
          <p:cNvPr id="32" name="Straight Connector 31"/>
          <p:cNvCxnSpPr/>
          <p:nvPr/>
        </p:nvCxnSpPr>
        <p:spPr>
          <a:xfrm flipV="1">
            <a:off x="3425463" y="3078701"/>
            <a:ext cx="4947672" cy="977554"/>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fld id="{3847DB54-D037-B84F-B6F1-2E8DA40D09AD}" type="slidenum">
              <a:rPr lang="en-US" smtClean="0"/>
              <a:pPr/>
              <a:t>29</a:t>
            </a:fld>
            <a:endParaRPr lang="en-US"/>
          </a:p>
        </p:txBody>
      </p:sp>
    </p:spTree>
    <p:extLst>
      <p:ext uri="{BB962C8B-B14F-4D97-AF65-F5344CB8AC3E}">
        <p14:creationId xmlns:p14="http://schemas.microsoft.com/office/powerpoint/2010/main" val="40430731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3</a:t>
            </a:fld>
            <a:endParaRPr lang="en-US"/>
          </a:p>
        </p:txBody>
      </p:sp>
      <p:sp>
        <p:nvSpPr>
          <p:cNvPr id="6" name="TextBox 5"/>
          <p:cNvSpPr txBox="1"/>
          <p:nvPr/>
        </p:nvSpPr>
        <p:spPr>
          <a:xfrm>
            <a:off x="2597279" y="2896586"/>
            <a:ext cx="6997442" cy="784276"/>
          </a:xfrm>
          <a:prstGeom prst="rect">
            <a:avLst/>
          </a:prstGeom>
          <a:noFill/>
        </p:spPr>
        <p:txBody>
          <a:bodyPr wrap="square" rtlCol="0">
            <a:spAutoFit/>
          </a:bodyPr>
          <a:lstStyle/>
          <a:p>
            <a:pPr algn="ctr" defTabSz="455541"/>
            <a:r>
              <a:rPr lang="nl-NL" sz="4400" dirty="0">
                <a:solidFill>
                  <a:srgbClr val="FFFFFF"/>
                </a:solidFill>
              </a:rPr>
              <a:t>Linear Regression</a:t>
            </a:r>
            <a:endParaRPr lang="en-US" sz="4400" dirty="0">
              <a:solidFill>
                <a:srgbClr val="FFFFFF"/>
              </a:solidFill>
            </a:endParaRPr>
          </a:p>
        </p:txBody>
      </p:sp>
    </p:spTree>
    <p:extLst>
      <p:ext uri="{BB962C8B-B14F-4D97-AF65-F5344CB8AC3E}">
        <p14:creationId xmlns:p14="http://schemas.microsoft.com/office/powerpoint/2010/main" val="395357676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60793" y="1524000"/>
            <a:ext cx="10235292" cy="4351338"/>
          </a:xfrm>
        </p:spPr>
        <p:txBody>
          <a:bodyPr/>
          <a:lstStyle/>
          <a:p>
            <a:pPr marL="456377" indent="-456377">
              <a:buClr>
                <a:schemeClr val="tx2"/>
              </a:buClr>
              <a:buFont typeface="Wingdings" panose="05000000000000000000" pitchFamily="2" charset="2"/>
              <a:buChar char="§"/>
            </a:pPr>
            <a:r>
              <a:rPr lang="en-US" sz="2396" kern="1200" dirty="0">
                <a:solidFill>
                  <a:schemeClr val="tx1"/>
                </a:solidFill>
                <a:latin typeface="Segoe UI Light" panose="020B0502040204020203" pitchFamily="34" charset="0"/>
                <a:cs typeface="Segoe UI Light" panose="020B0502040204020203" pitchFamily="34" charset="0"/>
              </a:rPr>
              <a:t>If you move xi, then f(xi) moves proportionally. The proportionality constant is called the leverage of point </a:t>
            </a:r>
            <a:r>
              <a:rPr lang="en-US" sz="2396" kern="1200" dirty="0" err="1">
                <a:solidFill>
                  <a:schemeClr val="tx1"/>
                </a:solidFill>
                <a:latin typeface="Segoe UI Light" panose="020B0502040204020203" pitchFamily="34" charset="0"/>
                <a:cs typeface="Segoe UI Light" panose="020B0502040204020203" pitchFamily="34" charset="0"/>
              </a:rPr>
              <a:t>i</a:t>
            </a:r>
            <a:endParaRPr lang="en-US" sz="2396" kern="1200" dirty="0">
              <a:solidFill>
                <a:schemeClr val="tx1"/>
              </a:solidFill>
              <a:latin typeface="Segoe UI Light" panose="020B0502040204020203" pitchFamily="34" charset="0"/>
              <a:cs typeface="Segoe UI Light" panose="020B0502040204020203" pitchFamily="34" charset="0"/>
            </a:endParaRPr>
          </a:p>
          <a:p>
            <a:pPr marL="456377" indent="-456377">
              <a:buClr>
                <a:schemeClr val="tx2"/>
              </a:buClr>
              <a:buFont typeface="Wingdings" panose="05000000000000000000" pitchFamily="2" charset="2"/>
              <a:buChar char="§"/>
            </a:pPr>
            <a:r>
              <a:rPr lang="en-US" sz="2396" kern="1200" dirty="0">
                <a:solidFill>
                  <a:schemeClr val="tx1"/>
                </a:solidFill>
                <a:latin typeface="Segoe UI Light" panose="020B0502040204020203" pitchFamily="34" charset="0"/>
                <a:cs typeface="Segoe UI Light" panose="020B0502040204020203" pitchFamily="34" charset="0"/>
              </a:rPr>
              <a:t>Leverage depends on xi but not on yi. It depends on how far away xi is from the mean of the xi’s</a:t>
            </a:r>
          </a:p>
          <a:p>
            <a:pPr marL="456377" indent="-456377">
              <a:buClr>
                <a:schemeClr val="tx2"/>
              </a:buClr>
              <a:buFont typeface="Wingdings" panose="05000000000000000000" pitchFamily="2" charset="2"/>
              <a:buChar char="§"/>
            </a:pPr>
            <a:r>
              <a:rPr lang="en-US" sz="2396" kern="1200" dirty="0">
                <a:solidFill>
                  <a:schemeClr val="tx1"/>
                </a:solidFill>
                <a:latin typeface="Segoe UI Light" panose="020B0502040204020203" pitchFamily="34" charset="0"/>
                <a:cs typeface="Segoe UI Light" panose="020B0502040204020203" pitchFamily="34" charset="0"/>
              </a:rPr>
              <a:t>Influential points do not necessarily have high leverage</a:t>
            </a:r>
          </a:p>
          <a:p>
            <a:pPr marL="456377" indent="-456377">
              <a:buClr>
                <a:schemeClr val="tx2"/>
              </a:buClr>
              <a:buFont typeface="Wingdings" panose="05000000000000000000" pitchFamily="2" charset="2"/>
              <a:buChar char="§"/>
            </a:pPr>
            <a:r>
              <a:rPr lang="en-US" sz="2396" kern="1200" dirty="0">
                <a:solidFill>
                  <a:schemeClr val="tx1"/>
                </a:solidFill>
                <a:latin typeface="Segoe UI Light" panose="020B0502040204020203" pitchFamily="34" charset="0"/>
                <a:cs typeface="Segoe UI Light" panose="020B0502040204020203" pitchFamily="34" charset="0"/>
              </a:rPr>
              <a:t>High leverage points are not necessarily influential</a:t>
            </a:r>
          </a:p>
        </p:txBody>
      </p:sp>
      <p:sp>
        <p:nvSpPr>
          <p:cNvPr id="6" name="Title 1"/>
          <p:cNvSpPr txBox="1">
            <a:spLocks/>
          </p:cNvSpPr>
          <p:nvPr/>
        </p:nvSpPr>
        <p:spPr bwMode="auto">
          <a:xfrm>
            <a:off x="960792" y="343181"/>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0</a:t>
            </a:fld>
            <a:endParaRPr lang="en-US"/>
          </a:p>
        </p:txBody>
      </p:sp>
    </p:spTree>
    <p:extLst>
      <p:ext uri="{BB962C8B-B14F-4D97-AF65-F5344CB8AC3E}">
        <p14:creationId xmlns:p14="http://schemas.microsoft.com/office/powerpoint/2010/main" val="195442255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2287664" y="5075313"/>
            <a:ext cx="43688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Straight Arrow Connector 4"/>
          <p:cNvCxnSpPr/>
          <p:nvPr/>
        </p:nvCxnSpPr>
        <p:spPr>
          <a:xfrm flipH="1" flipV="1">
            <a:off x="2277085" y="1986406"/>
            <a:ext cx="10578" cy="30783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2299299" y="5122082"/>
            <a:ext cx="313929" cy="399370"/>
          </a:xfrm>
          <a:prstGeom prst="rect">
            <a:avLst/>
          </a:prstGeom>
          <a:noFill/>
        </p:spPr>
        <p:txBody>
          <a:bodyPr wrap="non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0</a:t>
            </a:r>
          </a:p>
        </p:txBody>
      </p:sp>
      <p:sp>
        <p:nvSpPr>
          <p:cNvPr id="7" name="TextBox 6"/>
          <p:cNvSpPr txBox="1"/>
          <p:nvPr/>
        </p:nvSpPr>
        <p:spPr>
          <a:xfrm>
            <a:off x="5991176" y="5064958"/>
            <a:ext cx="710451" cy="399468"/>
          </a:xfrm>
          <a:prstGeom prst="rect">
            <a:avLst/>
          </a:prstGeom>
          <a:noFill/>
        </p:spPr>
        <p:txBody>
          <a:bodyPr wrap="non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2000</a:t>
            </a:r>
          </a:p>
        </p:txBody>
      </p:sp>
      <p:sp>
        <p:nvSpPr>
          <p:cNvPr id="8" name="TextBox 7"/>
          <p:cNvSpPr txBox="1"/>
          <p:nvPr/>
        </p:nvSpPr>
        <p:spPr>
          <a:xfrm>
            <a:off x="2681633" y="5271886"/>
            <a:ext cx="3855842" cy="399370"/>
          </a:xfrm>
          <a:prstGeom prst="rect">
            <a:avLst/>
          </a:prstGeom>
          <a:noFill/>
        </p:spPr>
        <p:txBody>
          <a:bodyPr wrap="squar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Number of Businessweek clicks</a:t>
            </a:r>
          </a:p>
        </p:txBody>
      </p:sp>
      <p:sp>
        <p:nvSpPr>
          <p:cNvPr id="9" name="TextBox 8"/>
          <p:cNvSpPr txBox="1"/>
          <p:nvPr/>
        </p:nvSpPr>
        <p:spPr>
          <a:xfrm>
            <a:off x="1968193" y="4723274"/>
            <a:ext cx="313929" cy="399370"/>
          </a:xfrm>
          <a:prstGeom prst="rect">
            <a:avLst/>
          </a:prstGeom>
          <a:noFill/>
        </p:spPr>
        <p:txBody>
          <a:bodyPr wrap="non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0</a:t>
            </a:r>
          </a:p>
        </p:txBody>
      </p:sp>
      <p:sp>
        <p:nvSpPr>
          <p:cNvPr id="10" name="TextBox 9"/>
          <p:cNvSpPr txBox="1"/>
          <p:nvPr/>
        </p:nvSpPr>
        <p:spPr>
          <a:xfrm>
            <a:off x="2355367" y="2050102"/>
            <a:ext cx="861133" cy="399468"/>
          </a:xfrm>
          <a:prstGeom prst="rect">
            <a:avLst/>
          </a:prstGeom>
          <a:noFill/>
        </p:spPr>
        <p:txBody>
          <a:bodyPr wrap="non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1,000K</a:t>
            </a:r>
          </a:p>
        </p:txBody>
      </p:sp>
      <p:sp>
        <p:nvSpPr>
          <p:cNvPr id="12" name="Oval 11"/>
          <p:cNvSpPr/>
          <p:nvPr/>
        </p:nvSpPr>
        <p:spPr>
          <a:xfrm>
            <a:off x="3693538" y="318494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3" name="Oval 12"/>
          <p:cNvSpPr/>
          <p:nvPr/>
        </p:nvSpPr>
        <p:spPr>
          <a:xfrm flipV="1">
            <a:off x="2923687" y="3476908"/>
            <a:ext cx="38677" cy="4741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4" name="Oval 13"/>
          <p:cNvSpPr/>
          <p:nvPr/>
        </p:nvSpPr>
        <p:spPr>
          <a:xfrm>
            <a:off x="4639250" y="3162728"/>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5" name="Oval 14"/>
          <p:cNvSpPr/>
          <p:nvPr/>
        </p:nvSpPr>
        <p:spPr>
          <a:xfrm>
            <a:off x="5070851" y="2839029"/>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6" name="Oval 15"/>
          <p:cNvSpPr/>
          <p:nvPr/>
        </p:nvSpPr>
        <p:spPr>
          <a:xfrm>
            <a:off x="4561952" y="2101126"/>
            <a:ext cx="47603" cy="57123"/>
          </a:xfrm>
          <a:prstGeom prst="ellipse">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7" name="Oval 16"/>
          <p:cNvSpPr/>
          <p:nvPr/>
        </p:nvSpPr>
        <p:spPr>
          <a:xfrm>
            <a:off x="4128312" y="3130993"/>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8" name="Oval 17"/>
          <p:cNvSpPr/>
          <p:nvPr/>
        </p:nvSpPr>
        <p:spPr>
          <a:xfrm>
            <a:off x="3465523" y="317523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19" name="Oval 18"/>
          <p:cNvSpPr/>
          <p:nvPr/>
        </p:nvSpPr>
        <p:spPr>
          <a:xfrm>
            <a:off x="3090566" y="3429306"/>
            <a:ext cx="47603" cy="57123"/>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0" name="Oval 19"/>
          <p:cNvSpPr/>
          <p:nvPr/>
        </p:nvSpPr>
        <p:spPr>
          <a:xfrm>
            <a:off x="6613668" y="2584958"/>
            <a:ext cx="47603" cy="57123"/>
          </a:xfrm>
          <a:prstGeom prst="ellipse">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000000"/>
              </a:solidFill>
              <a:latin typeface="Segoe UI Light" panose="020B0502040204020203" pitchFamily="34" charset="0"/>
              <a:cs typeface="Segoe UI Light" panose="020B0502040204020203" pitchFamily="34" charset="0"/>
            </a:endParaRPr>
          </a:p>
        </p:txBody>
      </p:sp>
      <p:sp>
        <p:nvSpPr>
          <p:cNvPr id="21" name="Oval 20"/>
          <p:cNvSpPr/>
          <p:nvPr/>
        </p:nvSpPr>
        <p:spPr>
          <a:xfrm>
            <a:off x="3392052" y="3124646"/>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2" name="Oval 21"/>
          <p:cNvSpPr/>
          <p:nvPr/>
        </p:nvSpPr>
        <p:spPr>
          <a:xfrm>
            <a:off x="3217507" y="3270628"/>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3" name="Oval 22"/>
          <p:cNvSpPr/>
          <p:nvPr/>
        </p:nvSpPr>
        <p:spPr>
          <a:xfrm>
            <a:off x="4323936" y="318077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4" name="Oval 23"/>
          <p:cNvSpPr/>
          <p:nvPr/>
        </p:nvSpPr>
        <p:spPr>
          <a:xfrm>
            <a:off x="5258089" y="2994531"/>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5" name="Oval 24"/>
          <p:cNvSpPr/>
          <p:nvPr/>
        </p:nvSpPr>
        <p:spPr>
          <a:xfrm>
            <a:off x="4952295" y="2949107"/>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6" name="Oval 25"/>
          <p:cNvSpPr/>
          <p:nvPr/>
        </p:nvSpPr>
        <p:spPr>
          <a:xfrm>
            <a:off x="5279169" y="2920544"/>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7" name="Oval 26"/>
          <p:cNvSpPr/>
          <p:nvPr/>
        </p:nvSpPr>
        <p:spPr>
          <a:xfrm>
            <a:off x="5066542" y="3063353"/>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sp>
        <p:nvSpPr>
          <p:cNvPr id="28" name="Oval 27"/>
          <p:cNvSpPr/>
          <p:nvPr/>
        </p:nvSpPr>
        <p:spPr>
          <a:xfrm>
            <a:off x="4217171" y="3172249"/>
            <a:ext cx="47603" cy="5712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2754"/>
            <a:endParaRPr lang="en-US" sz="1996">
              <a:solidFill>
                <a:srgbClr val="FFFFFF"/>
              </a:solidFill>
              <a:latin typeface="Segoe UI Light" panose="020B0502040204020203" pitchFamily="34" charset="0"/>
              <a:cs typeface="Segoe UI Light" panose="020B0502040204020203" pitchFamily="34" charset="0"/>
            </a:endParaRPr>
          </a:p>
        </p:txBody>
      </p:sp>
      <p:cxnSp>
        <p:nvCxnSpPr>
          <p:cNvPr id="29" name="Straight Connector 28"/>
          <p:cNvCxnSpPr/>
          <p:nvPr/>
        </p:nvCxnSpPr>
        <p:spPr>
          <a:xfrm flipV="1">
            <a:off x="2545375" y="2493840"/>
            <a:ext cx="4940859" cy="812189"/>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4085165" y="1298780"/>
            <a:ext cx="1761068" cy="706578"/>
          </a:xfrm>
          <a:prstGeom prst="rect">
            <a:avLst/>
          </a:prstGeom>
          <a:noFill/>
        </p:spPr>
        <p:txBody>
          <a:bodyPr wrap="none" rtlCol="0">
            <a:spAutoFit/>
          </a:bodyPr>
          <a:lstStyle/>
          <a:p>
            <a:pPr defTabSz="912754"/>
            <a:r>
              <a:rPr lang="en-US" sz="1996" dirty="0">
                <a:solidFill>
                  <a:srgbClr val="FF0000"/>
                </a:solidFill>
                <a:latin typeface="Segoe UI Light" panose="020B0502040204020203" pitchFamily="34" charset="0"/>
                <a:cs typeface="Segoe UI Light" panose="020B0502040204020203" pitchFamily="34" charset="0"/>
              </a:rPr>
              <a:t>Low leverage</a:t>
            </a:r>
          </a:p>
          <a:p>
            <a:pPr defTabSz="912754"/>
            <a:r>
              <a:rPr lang="en-US" sz="1996" dirty="0">
                <a:solidFill>
                  <a:srgbClr val="FF0000"/>
                </a:solidFill>
                <a:latin typeface="Segoe UI Light" panose="020B0502040204020203" pitchFamily="34" charset="0"/>
                <a:cs typeface="Segoe UI Light" panose="020B0502040204020203" pitchFamily="34" charset="0"/>
              </a:rPr>
              <a:t>Very influential</a:t>
            </a:r>
          </a:p>
        </p:txBody>
      </p:sp>
      <p:sp>
        <p:nvSpPr>
          <p:cNvPr id="31" name="TextBox 30"/>
          <p:cNvSpPr txBox="1"/>
          <p:nvPr/>
        </p:nvSpPr>
        <p:spPr>
          <a:xfrm>
            <a:off x="6276553" y="2797939"/>
            <a:ext cx="1679722" cy="706578"/>
          </a:xfrm>
          <a:prstGeom prst="rect">
            <a:avLst/>
          </a:prstGeom>
          <a:noFill/>
        </p:spPr>
        <p:txBody>
          <a:bodyPr wrap="none" rtlCol="0">
            <a:spAutoFit/>
          </a:bodyPr>
          <a:lstStyle/>
          <a:p>
            <a:pPr defTabSz="912754"/>
            <a:r>
              <a:rPr lang="en-US" sz="1996" dirty="0">
                <a:solidFill>
                  <a:srgbClr val="FF0000"/>
                </a:solidFill>
                <a:latin typeface="Segoe UI Light" panose="020B0502040204020203" pitchFamily="34" charset="0"/>
                <a:cs typeface="Segoe UI Light" panose="020B0502040204020203" pitchFamily="34" charset="0"/>
              </a:rPr>
              <a:t>High leverage</a:t>
            </a:r>
          </a:p>
          <a:p>
            <a:pPr defTabSz="912754"/>
            <a:r>
              <a:rPr lang="en-US" sz="1996" dirty="0">
                <a:solidFill>
                  <a:srgbClr val="FF0000"/>
                </a:solidFill>
                <a:latin typeface="Segoe UI Light" panose="020B0502040204020203" pitchFamily="34" charset="0"/>
                <a:cs typeface="Segoe UI Light" panose="020B0502040204020203" pitchFamily="34" charset="0"/>
              </a:rPr>
              <a:t>Not influential</a:t>
            </a:r>
          </a:p>
        </p:txBody>
      </p:sp>
      <p:sp>
        <p:nvSpPr>
          <p:cNvPr id="32" name="TextBox 31"/>
          <p:cNvSpPr txBox="1"/>
          <p:nvPr/>
        </p:nvSpPr>
        <p:spPr>
          <a:xfrm>
            <a:off x="2443328" y="2757082"/>
            <a:ext cx="587535" cy="399370"/>
          </a:xfrm>
          <a:prstGeom prst="rect">
            <a:avLst/>
          </a:prstGeom>
          <a:noFill/>
        </p:spPr>
        <p:txBody>
          <a:bodyPr wrap="non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f(x) </a:t>
            </a:r>
          </a:p>
        </p:txBody>
      </p:sp>
      <p:sp>
        <p:nvSpPr>
          <p:cNvPr id="34" name="Title 1"/>
          <p:cNvSpPr txBox="1">
            <a:spLocks/>
          </p:cNvSpPr>
          <p:nvPr/>
        </p:nvSpPr>
        <p:spPr bwMode="auto">
          <a:xfrm>
            <a:off x="1000723" y="465572"/>
            <a:ext cx="813376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defTabSz="912754"/>
            <a:r>
              <a:rPr lang="en-US" sz="3600" kern="0" dirty="0">
                <a:solidFill>
                  <a:schemeClr val="tx1"/>
                </a:solidFill>
                <a:latin typeface="Segoe UI Light" panose="020B0502040204020203" pitchFamily="34" charset="0"/>
                <a:cs typeface="Segoe UI Light" panose="020B0502040204020203" pitchFamily="34" charset="0"/>
              </a:rPr>
              <a:t>Leverag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31</a:t>
            </a:fld>
            <a:endParaRPr lang="en-US"/>
          </a:p>
        </p:txBody>
      </p:sp>
    </p:spTree>
    <p:extLst>
      <p:ext uri="{BB962C8B-B14F-4D97-AF65-F5344CB8AC3E}">
        <p14:creationId xmlns:p14="http://schemas.microsoft.com/office/powerpoint/2010/main" val="327120446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993473" y="3042922"/>
            <a:ext cx="9139774" cy="1736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2870" tIns="360010" rIns="617161" rtlCol="0" anchor="t" anchorCtr="0"/>
          <a:lstStyle/>
          <a:p>
            <a:pPr defTabSz="912754"/>
            <a:r>
              <a:rPr lang="en-US" sz="2058" dirty="0">
                <a:solidFill>
                  <a:schemeClr val="bg1"/>
                </a:solidFill>
              </a:rPr>
              <a:t>Is the data correct?</a:t>
            </a:r>
          </a:p>
          <a:p>
            <a:pPr defTabSz="912754"/>
            <a:r>
              <a:rPr lang="en-US" sz="2058" dirty="0">
                <a:solidFill>
                  <a:schemeClr val="bg1"/>
                </a:solidFill>
              </a:rPr>
              <a:t>Is the model complete/correct?</a:t>
            </a:r>
          </a:p>
          <a:p>
            <a:pPr marL="336122" indent="-336122" defTabSz="335595">
              <a:buFont typeface="Wingdings" panose="05000000000000000000" pitchFamily="2" charset="2"/>
              <a:buChar char="§"/>
            </a:pPr>
            <a:endParaRPr lang="en-US" sz="2058" dirty="0">
              <a:solidFill>
                <a:schemeClr val="bg1"/>
              </a:solidFill>
            </a:endParaRPr>
          </a:p>
          <a:p>
            <a:pPr defTabSz="335595"/>
            <a:endParaRPr lang="en-US" sz="2058" dirty="0">
              <a:solidFill>
                <a:schemeClr val="bg1"/>
              </a:solidFill>
            </a:endParaRPr>
          </a:p>
        </p:txBody>
      </p:sp>
      <p:sp>
        <p:nvSpPr>
          <p:cNvPr id="7" name="TextBox 6"/>
          <p:cNvSpPr txBox="1"/>
          <p:nvPr/>
        </p:nvSpPr>
        <p:spPr>
          <a:xfrm>
            <a:off x="2286983" y="1916597"/>
            <a:ext cx="6166751" cy="784596"/>
          </a:xfrm>
          <a:prstGeom prst="rect">
            <a:avLst/>
          </a:prstGeom>
          <a:noFill/>
        </p:spPr>
        <p:txBody>
          <a:bodyPr wrap="square" rtlCol="0">
            <a:spAutoFit/>
          </a:bodyPr>
          <a:lstStyle/>
          <a:p>
            <a:pPr defTabSz="341804"/>
            <a:r>
              <a:rPr lang="en-US" sz="4500" dirty="0">
                <a:solidFill>
                  <a:schemeClr val="bg1"/>
                </a:solidFill>
              </a:rPr>
              <a:t>Investigating Outliers</a:t>
            </a:r>
          </a:p>
        </p:txBody>
      </p:sp>
    </p:spTree>
    <p:extLst>
      <p:ext uri="{BB962C8B-B14F-4D97-AF65-F5344CB8AC3E}">
        <p14:creationId xmlns:p14="http://schemas.microsoft.com/office/powerpoint/2010/main" val="401516112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2597279" y="2896586"/>
            <a:ext cx="6997442" cy="784276"/>
          </a:xfrm>
          <a:prstGeom prst="rect">
            <a:avLst/>
          </a:prstGeom>
          <a:noFill/>
        </p:spPr>
        <p:txBody>
          <a:bodyPr wrap="square" rtlCol="0">
            <a:spAutoFit/>
          </a:bodyPr>
          <a:lstStyle/>
          <a:p>
            <a:pPr algn="ctr" defTabSz="455541"/>
            <a:r>
              <a:rPr lang="nl-NL" sz="4498" dirty="0">
                <a:solidFill>
                  <a:srgbClr val="FFFFFF"/>
                </a:solidFill>
              </a:rPr>
              <a:t>Logistic Regression</a:t>
            </a:r>
            <a:endParaRPr lang="en-US" sz="4498" dirty="0">
              <a:solidFill>
                <a:srgbClr val="FFFFFF"/>
              </a:solidFill>
            </a:endParaRPr>
          </a:p>
        </p:txBody>
      </p:sp>
    </p:spTree>
    <p:extLst>
      <p:ext uri="{BB962C8B-B14F-4D97-AF65-F5344CB8AC3E}">
        <p14:creationId xmlns:p14="http://schemas.microsoft.com/office/powerpoint/2010/main" val="6186641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dirty="0">
                <a:latin typeface="Segoe UI Light" panose="020B0502040204020203" pitchFamily="34" charset="0"/>
                <a:cs typeface="Segoe UI Light" panose="020B0502040204020203" pitchFamily="34" charset="0"/>
              </a:rPr>
              <a:t>Classification</a:t>
            </a: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97" name="Title 1"/>
          <p:cNvSpPr txBox="1">
            <a:spLocks/>
          </p:cNvSpPr>
          <p:nvPr/>
        </p:nvSpPr>
        <p:spPr>
          <a:xfrm>
            <a:off x="1076097" y="466968"/>
            <a:ext cx="5945676" cy="573616"/>
          </a:xfrm>
          <a:prstGeom prst="rect">
            <a:avLst/>
          </a:prstGeom>
        </p:spPr>
        <p:txBody>
          <a:bodyPr vert="horz" lIns="68548" tIns="34275" rIns="68548" bIns="0" rtlCol="0" anchor="t" anchorCtr="0">
            <a:normAutofit/>
          </a:bodyPr>
          <a:lstStyle>
            <a:lvl1pPr algn="l" defTabSz="896203" rtl="0" eaLnBrk="1" latinLnBrk="0" hangingPunct="1">
              <a:lnSpc>
                <a:spcPct val="90000"/>
              </a:lnSpc>
              <a:spcBef>
                <a:spcPct val="0"/>
              </a:spcBef>
              <a:buNone/>
              <a:defRPr sz="4312" kern="1200">
                <a:solidFill>
                  <a:schemeClr val="tx2"/>
                </a:solidFill>
                <a:latin typeface="+mj-lt"/>
                <a:ea typeface="+mj-ea"/>
                <a:cs typeface="+mj-cs"/>
              </a:defRPr>
            </a:lvl1pPr>
          </a:lstStyle>
          <a:p>
            <a:pPr defTabSz="894590"/>
            <a:endParaRPr lang="en-GB" sz="3232" dirty="0">
              <a:solidFill>
                <a:srgbClr val="FF5800"/>
              </a:solidFill>
              <a:latin typeface="Arial"/>
            </a:endParaRPr>
          </a:p>
        </p:txBody>
      </p:sp>
      <mc:AlternateContent xmlns:mc="http://schemas.openxmlformats.org/markup-compatibility/2006" xmlns:a14="http://schemas.microsoft.com/office/drawing/2010/main">
        <mc:Choice Requires="a14">
          <p:sp>
            <p:nvSpPr>
              <p:cNvPr id="2" name="TextBox 1"/>
              <p:cNvSpPr txBox="1"/>
              <p:nvPr/>
            </p:nvSpPr>
            <p:spPr>
              <a:xfrm>
                <a:off x="1076097" y="2052499"/>
                <a:ext cx="8792856" cy="2600520"/>
              </a:xfrm>
              <a:prstGeom prst="rect">
                <a:avLst/>
              </a:prstGeom>
              <a:noFill/>
            </p:spPr>
            <p:txBody>
              <a:bodyPr wrap="none" rtlCol="0">
                <a:spAutoFit/>
              </a:bodyPr>
              <a:lstStyle/>
              <a:p>
                <a:pPr marL="12677" defTabSz="912754"/>
                <a:r>
                  <a:rPr lang="en-US" sz="2396" spc="-14" dirty="0">
                    <a:solidFill>
                      <a:srgbClr val="FF5800"/>
                    </a:solidFill>
                    <a:cs typeface="Calibri"/>
                  </a:rPr>
                  <a:t>Email: </a:t>
                </a:r>
                <a:r>
                  <a:rPr lang="en-US" sz="2396" spc="-14" dirty="0">
                    <a:solidFill>
                      <a:srgbClr val="000000"/>
                    </a:solidFill>
                    <a:cs typeface="Calibri"/>
                  </a:rPr>
                  <a:t>Spam / Not Spam?</a:t>
                </a:r>
              </a:p>
              <a:p>
                <a:pPr marL="12677" defTabSz="912754"/>
                <a:r>
                  <a:rPr lang="en-US" sz="2396" spc="-14" dirty="0">
                    <a:solidFill>
                      <a:srgbClr val="FF5800"/>
                    </a:solidFill>
                    <a:cs typeface="Calibri"/>
                  </a:rPr>
                  <a:t>Online Transactions: </a:t>
                </a:r>
                <a:r>
                  <a:rPr lang="en-US" sz="2396" spc="-14" dirty="0">
                    <a:solidFill>
                      <a:srgbClr val="000000"/>
                    </a:solidFill>
                    <a:cs typeface="Calibri"/>
                  </a:rPr>
                  <a:t>Fraudulent (Yes / No)?</a:t>
                </a:r>
              </a:p>
              <a:p>
                <a:pPr marL="12677" defTabSz="912754"/>
                <a:r>
                  <a:rPr lang="en-US" sz="2396" spc="-14" dirty="0">
                    <a:solidFill>
                      <a:srgbClr val="FF5800"/>
                    </a:solidFill>
                    <a:cs typeface="Calibri"/>
                  </a:rPr>
                  <a:t>Tumor: </a:t>
                </a:r>
                <a:r>
                  <a:rPr lang="en-US" sz="2396" spc="-14" dirty="0">
                    <a:solidFill>
                      <a:srgbClr val="000000"/>
                    </a:solidFill>
                    <a:cs typeface="Calibri"/>
                  </a:rPr>
                  <a:t>Malignant / Benign ?</a:t>
                </a:r>
              </a:p>
              <a:p>
                <a:pPr marL="12677" defTabSz="912754"/>
                <a:endParaRPr lang="en-US" sz="1797" spc="-5" dirty="0">
                  <a:solidFill>
                    <a:srgbClr val="000000"/>
                  </a:solidFill>
                  <a:cs typeface="Segoe UI Light"/>
                </a:endParaRPr>
              </a:p>
              <a:p>
                <a:pPr marL="12677" defTabSz="912754"/>
                <a14:m>
                  <m:oMath xmlns:m="http://schemas.openxmlformats.org/officeDocument/2006/math">
                    <m:r>
                      <m:rPr>
                        <m:sty m:val="p"/>
                      </m:rPr>
                      <a:rPr lang="en-US" sz="3194" b="0" i="0" smtClean="0">
                        <a:solidFill>
                          <a:srgbClr val="FFFFFF">
                            <a:lumMod val="65000"/>
                          </a:srgbClr>
                        </a:solidFill>
                        <a:latin typeface="Cambria Math" panose="02040503050406030204" pitchFamily="18" charset="0"/>
                        <a:cs typeface="Segoe UI Light"/>
                      </a:rPr>
                      <m:t>y</m:t>
                    </m:r>
                    <m:r>
                      <a:rPr lang="en-US" sz="3194" b="0" i="0" smtClean="0">
                        <a:solidFill>
                          <a:srgbClr val="FFFFFF">
                            <a:lumMod val="65000"/>
                          </a:srgbClr>
                        </a:solidFill>
                        <a:latin typeface="Cambria Math" panose="02040503050406030204" pitchFamily="18" charset="0"/>
                        <a:cs typeface="Segoe UI Light"/>
                      </a:rPr>
                      <m:t> ∈</m:t>
                    </m:r>
                    <m:d>
                      <m:dPr>
                        <m:begChr m:val="{"/>
                        <m:endChr m:val="}"/>
                        <m:ctrlPr>
                          <a:rPr lang="en-US" sz="3194" i="1">
                            <a:solidFill>
                              <a:srgbClr val="FFFFFF">
                                <a:lumMod val="65000"/>
                              </a:srgbClr>
                            </a:solidFill>
                            <a:latin typeface="Cambria Math" panose="02040503050406030204" pitchFamily="18" charset="0"/>
                            <a:ea typeface="Cambria Math" panose="02040503050406030204" pitchFamily="18" charset="0"/>
                            <a:cs typeface="Segoe UI Light"/>
                          </a:rPr>
                        </m:ctrlPr>
                      </m:dPr>
                      <m:e>
                        <m:r>
                          <a:rPr lang="en-US" sz="3194" b="0" i="0" smtClean="0">
                            <a:solidFill>
                              <a:srgbClr val="FFFFFF">
                                <a:lumMod val="65000"/>
                              </a:srgbClr>
                            </a:solidFill>
                            <a:latin typeface="Cambria Math" panose="02040503050406030204" pitchFamily="18" charset="0"/>
                            <a:ea typeface="Cambria Math" panose="02040503050406030204" pitchFamily="18" charset="0"/>
                            <a:cs typeface="Segoe UI Light"/>
                          </a:rPr>
                          <m:t>0, 1</m:t>
                        </m:r>
                      </m:e>
                    </m:d>
                    <m:r>
                      <a:rPr lang="en-US" sz="3194" b="0" i="0" smtClean="0">
                        <a:solidFill>
                          <a:srgbClr val="FFFFFF">
                            <a:lumMod val="65000"/>
                          </a:srgbClr>
                        </a:solidFill>
                        <a:latin typeface="Cambria Math" panose="02040503050406030204" pitchFamily="18" charset="0"/>
                        <a:ea typeface="Cambria Math" panose="02040503050406030204" pitchFamily="18" charset="0"/>
                        <a:cs typeface="Segoe UI Light"/>
                      </a:rPr>
                      <m:t>             </m:t>
                    </m:r>
                  </m:oMath>
                </a14:m>
                <a:r>
                  <a:rPr lang="en-US" sz="2396" spc="-14" dirty="0">
                    <a:solidFill>
                      <a:srgbClr val="000000"/>
                    </a:solidFill>
                    <a:cs typeface="Calibri"/>
                  </a:rPr>
                  <a:t>0: “Negative Class” (e.g., benign tumor)</a:t>
                </a:r>
              </a:p>
              <a:p>
                <a:pPr marL="12677" defTabSz="912754"/>
                <a:r>
                  <a:rPr lang="en-US" sz="2396" spc="-14" dirty="0">
                    <a:solidFill>
                      <a:srgbClr val="000000"/>
                    </a:solidFill>
                    <a:cs typeface="Calibri"/>
                  </a:rPr>
                  <a:t>                                   1: “Positive Class” (e.g., malignant tumor)</a:t>
                </a:r>
              </a:p>
              <a:p>
                <a:pPr defTabSz="912754"/>
                <a:endParaRPr lang="en-US" sz="1797" dirty="0">
                  <a:solidFill>
                    <a:srgbClr val="000000"/>
                  </a:solidFill>
                </a:endParaRPr>
              </a:p>
            </p:txBody>
          </p:sp>
        </mc:Choice>
        <mc:Fallback xmlns="">
          <p:sp>
            <p:nvSpPr>
              <p:cNvPr id="2" name="TextBox 1"/>
              <p:cNvSpPr txBox="1">
                <a:spLocks noRot="1" noChangeAspect="1" noMove="1" noResize="1" noEditPoints="1" noAdjustHandles="1" noChangeArrowheads="1" noChangeShapeType="1" noTextEdit="1"/>
              </p:cNvSpPr>
              <p:nvPr/>
            </p:nvSpPr>
            <p:spPr>
              <a:xfrm>
                <a:off x="1076097" y="2052499"/>
                <a:ext cx="8792856" cy="2600520"/>
              </a:xfrm>
              <a:prstGeom prst="rect">
                <a:avLst/>
              </a:prstGeom>
              <a:blipFill rotWithShape="0">
                <a:blip r:embed="rId3"/>
                <a:stretch>
                  <a:fillRect l="-971" t="-1643"/>
                </a:stretch>
              </a:blipFill>
            </p:spPr>
            <p:txBody>
              <a:bodyPr/>
              <a:lstStyle/>
              <a:p>
                <a:r>
                  <a:rPr lang="en-US">
                    <a:noFill/>
                  </a:rPr>
                  <a:t> </a:t>
                </a:r>
              </a:p>
            </p:txBody>
          </p:sp>
        </mc:Fallback>
      </mc:AlternateContent>
      <p:sp>
        <p:nvSpPr>
          <p:cNvPr id="3" name="Slide Number Placeholder 2"/>
          <p:cNvSpPr>
            <a:spLocks noGrp="1"/>
          </p:cNvSpPr>
          <p:nvPr>
            <p:ph type="sldNum" sz="quarter" idx="12"/>
          </p:nvPr>
        </p:nvSpPr>
        <p:spPr/>
        <p:txBody>
          <a:bodyPr/>
          <a:lstStyle/>
          <a:p>
            <a:fld id="{3847DB54-D037-B84F-B6F1-2E8DA40D09AD}" type="slidenum">
              <a:rPr lang="en-US" smtClean="0"/>
              <a:pPr/>
              <a:t>34</a:t>
            </a:fld>
            <a:endParaRPr lang="en-US"/>
          </a:p>
        </p:txBody>
      </p:sp>
    </p:spTree>
    <p:extLst>
      <p:ext uri="{BB962C8B-B14F-4D97-AF65-F5344CB8AC3E}">
        <p14:creationId xmlns:p14="http://schemas.microsoft.com/office/powerpoint/2010/main" val="140438578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1608511" y="1657679"/>
            <a:ext cx="7223203" cy="3091311"/>
          </a:xfrm>
          <a:prstGeom prst="rect">
            <a:avLst/>
          </a:prstGeom>
        </p:spPr>
      </p:pic>
      <p:sp>
        <p:nvSpPr>
          <p:cNvPr id="10" name="TextBox 9"/>
          <p:cNvSpPr txBox="1"/>
          <p:nvPr/>
        </p:nvSpPr>
        <p:spPr>
          <a:xfrm>
            <a:off x="9290483" y="1970068"/>
            <a:ext cx="1018227" cy="645433"/>
          </a:xfrm>
          <a:prstGeom prst="rect">
            <a:avLst/>
          </a:prstGeom>
          <a:noFill/>
        </p:spPr>
        <p:txBody>
          <a:bodyPr wrap="none" rtlCol="0">
            <a:spAutoFit/>
          </a:bodyPr>
          <a:lstStyle/>
          <a:p>
            <a:pPr defTabSz="912754"/>
            <a:r>
              <a:rPr lang="en-US" dirty="0">
                <a:solidFill>
                  <a:prstClr val="black"/>
                </a:solidFill>
              </a:rPr>
              <a:t>Case 1:</a:t>
            </a:r>
          </a:p>
          <a:p>
            <a:pPr defTabSz="912754"/>
            <a:r>
              <a:rPr lang="en-US" dirty="0">
                <a:solidFill>
                  <a:prstClr val="black"/>
                </a:solidFill>
              </a:rPr>
              <a:t>Not Bad</a:t>
            </a:r>
          </a:p>
        </p:txBody>
      </p:sp>
      <p:sp>
        <p:nvSpPr>
          <p:cNvPr id="12" name="object 40"/>
          <p:cNvSpPr/>
          <p:nvPr/>
        </p:nvSpPr>
        <p:spPr>
          <a:xfrm>
            <a:off x="9138366" y="2635532"/>
            <a:ext cx="1361458" cy="1332556"/>
          </a:xfrm>
          <a:prstGeom prst="rect">
            <a:avLst/>
          </a:prstGeom>
          <a:blipFill>
            <a:blip r:embed="rId4" cstate="print"/>
            <a:stretch>
              <a:fillRect/>
            </a:stretch>
          </a:blipFill>
        </p:spPr>
        <p:txBody>
          <a:bodyPr wrap="square" lIns="0" tIns="0" rIns="0" bIns="0" rtlCol="0"/>
          <a:lstStyle/>
          <a:p>
            <a:pPr defTabSz="912754"/>
            <a:endParaRPr>
              <a:solidFill>
                <a:prstClr val="black"/>
              </a:solidFill>
            </a:endParaRPr>
          </a:p>
        </p:txBody>
      </p:sp>
      <p:sp>
        <p:nvSpPr>
          <p:cNvPr id="13" name="TextBox 12"/>
          <p:cNvSpPr txBox="1"/>
          <p:nvPr/>
        </p:nvSpPr>
        <p:spPr>
          <a:xfrm>
            <a:off x="4144871" y="4560830"/>
            <a:ext cx="1273490" cy="369332"/>
          </a:xfrm>
          <a:prstGeom prst="rect">
            <a:avLst/>
          </a:prstGeom>
          <a:noFill/>
        </p:spPr>
        <p:txBody>
          <a:bodyPr wrap="none" rtlCol="0">
            <a:spAutoFit/>
          </a:bodyPr>
          <a:lstStyle/>
          <a:p>
            <a:pPr defTabSz="912754"/>
            <a:r>
              <a:rPr lang="en-US" spc="-10" dirty="0">
                <a:solidFill>
                  <a:prstClr val="black"/>
                </a:solidFill>
                <a:cs typeface="Segoe UI Light"/>
              </a:rPr>
              <a:t>h</a:t>
            </a:r>
            <a:r>
              <a:rPr lang="el-GR" spc="-15" baseline="-20833" dirty="0">
                <a:solidFill>
                  <a:prstClr val="black"/>
                </a:solidFill>
                <a:cs typeface="Segoe UI Light"/>
              </a:rPr>
              <a:t>θ</a:t>
            </a:r>
            <a:r>
              <a:rPr lang="el-GR" spc="-10" dirty="0">
                <a:solidFill>
                  <a:prstClr val="black"/>
                </a:solidFill>
                <a:cs typeface="Segoe UI Light"/>
              </a:rPr>
              <a:t>(</a:t>
            </a:r>
            <a:r>
              <a:rPr lang="en-US" spc="-10" dirty="0">
                <a:solidFill>
                  <a:prstClr val="black"/>
                </a:solidFill>
                <a:cs typeface="Segoe UI Light"/>
              </a:rPr>
              <a:t>x) </a:t>
            </a:r>
            <a:r>
              <a:rPr lang="en-US" dirty="0">
                <a:solidFill>
                  <a:prstClr val="black"/>
                </a:solidFill>
                <a:cs typeface="Segoe UI Light"/>
              </a:rPr>
              <a:t>= </a:t>
            </a:r>
            <a:r>
              <a:rPr lang="el-GR" spc="-5" dirty="0">
                <a:solidFill>
                  <a:prstClr val="black"/>
                </a:solidFill>
                <a:cs typeface="Segoe UI Light"/>
              </a:rPr>
              <a:t>θ</a:t>
            </a:r>
            <a:r>
              <a:rPr lang="en-US" spc="-7" baseline="24305" dirty="0">
                <a:solidFill>
                  <a:prstClr val="black"/>
                </a:solidFill>
                <a:cs typeface="Segoe UI Light"/>
              </a:rPr>
              <a:t>T</a:t>
            </a:r>
            <a:r>
              <a:rPr lang="en-US" spc="-135" baseline="24305" dirty="0">
                <a:solidFill>
                  <a:prstClr val="black"/>
                </a:solidFill>
                <a:cs typeface="Segoe UI Light"/>
              </a:rPr>
              <a:t> </a:t>
            </a:r>
            <a:r>
              <a:rPr lang="en-US" dirty="0">
                <a:solidFill>
                  <a:prstClr val="black"/>
                </a:solidFill>
                <a:cs typeface="Segoe UI Light"/>
              </a:rPr>
              <a:t>x</a:t>
            </a:r>
          </a:p>
        </p:txBody>
      </p:sp>
      <p:sp>
        <p:nvSpPr>
          <p:cNvPr id="14" name="TextBox 13"/>
          <p:cNvSpPr txBox="1"/>
          <p:nvPr/>
        </p:nvSpPr>
        <p:spPr>
          <a:xfrm>
            <a:off x="3094801" y="4972204"/>
            <a:ext cx="2913170" cy="369332"/>
          </a:xfrm>
          <a:prstGeom prst="rect">
            <a:avLst/>
          </a:prstGeom>
          <a:noFill/>
        </p:spPr>
        <p:txBody>
          <a:bodyPr wrap="none" rtlCol="0">
            <a:spAutoFit/>
          </a:bodyPr>
          <a:lstStyle/>
          <a:p>
            <a:pPr marL="12677" defTabSz="912754"/>
            <a:r>
              <a:rPr lang="en-US" spc="-10" dirty="0">
                <a:solidFill>
                  <a:prstClr val="black"/>
                </a:solidFill>
                <a:cs typeface="Segoe UI Light"/>
              </a:rPr>
              <a:t>Threshold </a:t>
            </a:r>
            <a:r>
              <a:rPr lang="en-US" spc="-5" dirty="0">
                <a:solidFill>
                  <a:prstClr val="black"/>
                </a:solidFill>
                <a:cs typeface="Segoe UI Light"/>
              </a:rPr>
              <a:t>classifier</a:t>
            </a:r>
            <a:r>
              <a:rPr lang="en-US" spc="-25" dirty="0">
                <a:solidFill>
                  <a:prstClr val="black"/>
                </a:solidFill>
                <a:cs typeface="Segoe UI Light"/>
              </a:rPr>
              <a:t> </a:t>
            </a:r>
            <a:r>
              <a:rPr lang="en-US" dirty="0">
                <a:solidFill>
                  <a:prstClr val="black"/>
                </a:solidFill>
                <a:cs typeface="Segoe UI Light"/>
              </a:rPr>
              <a:t>output </a:t>
            </a:r>
          </a:p>
        </p:txBody>
      </p:sp>
      <p:sp>
        <p:nvSpPr>
          <p:cNvPr id="15" name="object 4"/>
          <p:cNvSpPr/>
          <p:nvPr/>
        </p:nvSpPr>
        <p:spPr>
          <a:xfrm>
            <a:off x="6627541" y="4980900"/>
            <a:ext cx="903582" cy="443417"/>
          </a:xfrm>
          <a:prstGeom prst="rect">
            <a:avLst/>
          </a:prstGeom>
          <a:blipFill>
            <a:blip r:embed="rId5" cstate="print"/>
            <a:stretch>
              <a:fillRect/>
            </a:stretch>
          </a:blipFill>
        </p:spPr>
        <p:txBody>
          <a:bodyPr wrap="square" lIns="0" tIns="0" rIns="0" bIns="0" rtlCol="0"/>
          <a:lstStyle/>
          <a:p>
            <a:pPr defTabSz="912754"/>
            <a:endParaRPr>
              <a:solidFill>
                <a:prstClr val="black"/>
              </a:solidFill>
            </a:endParaRPr>
          </a:p>
        </p:txBody>
      </p:sp>
      <p:sp>
        <p:nvSpPr>
          <p:cNvPr id="16" name="TextBox 15"/>
          <p:cNvSpPr txBox="1"/>
          <p:nvPr/>
        </p:nvSpPr>
        <p:spPr>
          <a:xfrm>
            <a:off x="7536498" y="4941274"/>
            <a:ext cx="790281" cy="369332"/>
          </a:xfrm>
          <a:prstGeom prst="rect">
            <a:avLst/>
          </a:prstGeom>
          <a:noFill/>
        </p:spPr>
        <p:txBody>
          <a:bodyPr wrap="none" rtlCol="0">
            <a:spAutoFit/>
          </a:bodyPr>
          <a:lstStyle/>
          <a:p>
            <a:pPr marL="12677" defTabSz="912754"/>
            <a:r>
              <a:rPr lang="en-US" spc="-5" dirty="0">
                <a:solidFill>
                  <a:prstClr val="black"/>
                </a:solidFill>
                <a:cs typeface="Segoe UI Light"/>
              </a:rPr>
              <a:t>at</a:t>
            </a:r>
            <a:r>
              <a:rPr lang="en-US" spc="-85" dirty="0">
                <a:solidFill>
                  <a:prstClr val="black"/>
                </a:solidFill>
                <a:cs typeface="Segoe UI Light"/>
              </a:rPr>
              <a:t> </a:t>
            </a:r>
            <a:r>
              <a:rPr lang="en-US" spc="-5" dirty="0">
                <a:solidFill>
                  <a:prstClr val="black"/>
                </a:solidFill>
                <a:cs typeface="Segoe UI Light"/>
              </a:rPr>
              <a:t>0.5:</a:t>
            </a:r>
            <a:endParaRPr lang="en-US" dirty="0">
              <a:solidFill>
                <a:prstClr val="black"/>
              </a:solidFill>
              <a:cs typeface="Segoe UI Light"/>
            </a:endParaRPr>
          </a:p>
        </p:txBody>
      </p:sp>
      <p:sp>
        <p:nvSpPr>
          <p:cNvPr id="17" name="TextBox 16"/>
          <p:cNvSpPr txBox="1"/>
          <p:nvPr/>
        </p:nvSpPr>
        <p:spPr>
          <a:xfrm>
            <a:off x="3580879" y="5530966"/>
            <a:ext cx="4467120" cy="646331"/>
          </a:xfrm>
          <a:prstGeom prst="rect">
            <a:avLst/>
          </a:prstGeom>
          <a:noFill/>
        </p:spPr>
        <p:txBody>
          <a:bodyPr wrap="none" rtlCol="0">
            <a:spAutoFit/>
          </a:bodyPr>
          <a:lstStyle/>
          <a:p>
            <a:pPr defTabSz="912754"/>
            <a:r>
              <a:rPr lang="en-US" dirty="0">
                <a:solidFill>
                  <a:prstClr val="black"/>
                </a:solidFill>
              </a:rPr>
              <a:t>If                		, predict “y= 1”</a:t>
            </a:r>
          </a:p>
          <a:p>
            <a:pPr defTabSz="912754"/>
            <a:r>
              <a:rPr lang="en-US" dirty="0">
                <a:solidFill>
                  <a:prstClr val="black"/>
                </a:solidFill>
              </a:rPr>
              <a:t>If  	 		, predict “y=0”</a:t>
            </a:r>
          </a:p>
        </p:txBody>
      </p:sp>
      <p:sp>
        <p:nvSpPr>
          <p:cNvPr id="19" name="object 7"/>
          <p:cNvSpPr/>
          <p:nvPr/>
        </p:nvSpPr>
        <p:spPr>
          <a:xfrm>
            <a:off x="4077011" y="5555960"/>
            <a:ext cx="1974496" cy="407676"/>
          </a:xfrm>
          <a:prstGeom prst="rect">
            <a:avLst/>
          </a:prstGeom>
          <a:blipFill>
            <a:blip r:embed="rId6" cstate="print"/>
            <a:stretch>
              <a:fillRect/>
            </a:stretch>
          </a:blipFill>
        </p:spPr>
        <p:txBody>
          <a:bodyPr wrap="square" lIns="0" tIns="0" rIns="0" bIns="0" rtlCol="0"/>
          <a:lstStyle/>
          <a:p>
            <a:pPr defTabSz="912754"/>
            <a:endParaRPr>
              <a:solidFill>
                <a:prstClr val="black"/>
              </a:solidFill>
            </a:endParaRPr>
          </a:p>
        </p:txBody>
      </p:sp>
      <p:sp>
        <p:nvSpPr>
          <p:cNvPr id="20" name="object 10"/>
          <p:cNvSpPr/>
          <p:nvPr/>
        </p:nvSpPr>
        <p:spPr>
          <a:xfrm>
            <a:off x="4064996" y="5977392"/>
            <a:ext cx="1974496" cy="407676"/>
          </a:xfrm>
          <a:prstGeom prst="rect">
            <a:avLst/>
          </a:prstGeom>
          <a:blipFill>
            <a:blip r:embed="rId7" cstate="print"/>
            <a:stretch>
              <a:fillRect/>
            </a:stretch>
          </a:blipFill>
        </p:spPr>
        <p:txBody>
          <a:bodyPr wrap="square" lIns="0" tIns="0" rIns="0" bIns="0" rtlCol="0"/>
          <a:lstStyle/>
          <a:p>
            <a:pPr defTabSz="912754"/>
            <a:endParaRPr>
              <a:solidFill>
                <a:prstClr val="black"/>
              </a:solidFill>
            </a:endParaRPr>
          </a:p>
        </p:txBody>
      </p:sp>
      <p:sp>
        <p:nvSpPr>
          <p:cNvPr id="2" name="Title 1"/>
          <p:cNvSpPr>
            <a:spLocks noGrp="1"/>
          </p:cNvSpPr>
          <p:nvPr>
            <p:ph type="title"/>
          </p:nvPr>
        </p:nvSpPr>
        <p:spPr>
          <a:xfrm>
            <a:off x="916299" y="-101520"/>
            <a:ext cx="10270415" cy="998344"/>
          </a:xfrm>
        </p:spPr>
        <p:txBody>
          <a:bodyPr/>
          <a:lstStyle/>
          <a:p>
            <a:br>
              <a:rPr lang="en-US" dirty="0">
                <a:solidFill>
                  <a:srgbClr val="F86223"/>
                </a:solidFill>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Classification- Case 1</a:t>
            </a: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35</a:t>
            </a:fld>
            <a:endParaRPr lang="en-US"/>
          </a:p>
        </p:txBody>
      </p:sp>
    </p:spTree>
    <p:extLst>
      <p:ext uri="{BB962C8B-B14F-4D97-AF65-F5344CB8AC3E}">
        <p14:creationId xmlns:p14="http://schemas.microsoft.com/office/powerpoint/2010/main" val="198021101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prstGeom prst="rect">
            <a:avLst/>
          </a:prstGeom>
        </p:spPr>
        <p:txBody>
          <a:bodyPr/>
          <a:lstStyle/>
          <a:p>
            <a:pPr marL="0" indent="0">
              <a:buNone/>
            </a:pPr>
            <a:endParaRPr lang="en-US" sz="1800" dirty="0">
              <a:latin typeface="+mn-lt"/>
            </a:endParaRPr>
          </a:p>
          <a:p>
            <a:pPr marL="0" indent="0">
              <a:buNone/>
            </a:pPr>
            <a:endParaRPr lang="en-US" sz="1800" spc="5" dirty="0">
              <a:latin typeface="+mn-lt"/>
              <a:cs typeface="Segoe UI Light"/>
            </a:endParaRP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lassification- Case 2</a:t>
            </a:r>
          </a:p>
        </p:txBody>
      </p:sp>
      <p:sp>
        <p:nvSpPr>
          <p:cNvPr id="70" name="object 2"/>
          <p:cNvSpPr/>
          <p:nvPr/>
        </p:nvSpPr>
        <p:spPr>
          <a:xfrm>
            <a:off x="3190093" y="3777365"/>
            <a:ext cx="3993764" cy="152119"/>
          </a:xfrm>
          <a:custGeom>
            <a:avLst/>
            <a:gdLst/>
            <a:ahLst/>
            <a:cxnLst/>
            <a:rect l="l" t="t" r="r" b="b"/>
            <a:pathLst>
              <a:path w="4716780" h="228600">
                <a:moveTo>
                  <a:pt x="4657217" y="114220"/>
                </a:moveTo>
                <a:lnTo>
                  <a:pt x="4560443" y="194865"/>
                </a:lnTo>
                <a:lnTo>
                  <a:pt x="4555690" y="200749"/>
                </a:lnTo>
                <a:lnTo>
                  <a:pt x="4553664" y="207740"/>
                </a:lnTo>
                <a:lnTo>
                  <a:pt x="4554424" y="214993"/>
                </a:lnTo>
                <a:lnTo>
                  <a:pt x="4558030" y="221662"/>
                </a:lnTo>
                <a:lnTo>
                  <a:pt x="4563913" y="226415"/>
                </a:lnTo>
                <a:lnTo>
                  <a:pt x="4570904" y="228441"/>
                </a:lnTo>
                <a:lnTo>
                  <a:pt x="4578157" y="227681"/>
                </a:lnTo>
                <a:lnTo>
                  <a:pt x="4584827" y="224075"/>
                </a:lnTo>
                <a:lnTo>
                  <a:pt x="4693792" y="133270"/>
                </a:lnTo>
                <a:lnTo>
                  <a:pt x="4686934" y="133270"/>
                </a:lnTo>
                <a:lnTo>
                  <a:pt x="4686934" y="128825"/>
                </a:lnTo>
                <a:lnTo>
                  <a:pt x="4674743" y="128825"/>
                </a:lnTo>
                <a:lnTo>
                  <a:pt x="4657217" y="114220"/>
                </a:lnTo>
                <a:close/>
              </a:path>
              <a:path w="4716780" h="228600">
                <a:moveTo>
                  <a:pt x="4634357" y="95170"/>
                </a:moveTo>
                <a:lnTo>
                  <a:pt x="0" y="95170"/>
                </a:lnTo>
                <a:lnTo>
                  <a:pt x="0" y="133270"/>
                </a:lnTo>
                <a:lnTo>
                  <a:pt x="4634357" y="133270"/>
                </a:lnTo>
                <a:lnTo>
                  <a:pt x="4657216" y="114220"/>
                </a:lnTo>
                <a:lnTo>
                  <a:pt x="4634357" y="95170"/>
                </a:lnTo>
                <a:close/>
              </a:path>
              <a:path w="4716780" h="228600">
                <a:moveTo>
                  <a:pt x="4693792" y="95170"/>
                </a:moveTo>
                <a:lnTo>
                  <a:pt x="4686934" y="95170"/>
                </a:lnTo>
                <a:lnTo>
                  <a:pt x="4686934" y="133270"/>
                </a:lnTo>
                <a:lnTo>
                  <a:pt x="4693792" y="133270"/>
                </a:lnTo>
                <a:lnTo>
                  <a:pt x="4716653" y="114220"/>
                </a:lnTo>
                <a:lnTo>
                  <a:pt x="4693792" y="95170"/>
                </a:lnTo>
                <a:close/>
              </a:path>
              <a:path w="4716780" h="228600">
                <a:moveTo>
                  <a:pt x="4674743" y="99615"/>
                </a:moveTo>
                <a:lnTo>
                  <a:pt x="4657217" y="114220"/>
                </a:lnTo>
                <a:lnTo>
                  <a:pt x="4674743" y="128825"/>
                </a:lnTo>
                <a:lnTo>
                  <a:pt x="4674743" y="99615"/>
                </a:lnTo>
                <a:close/>
              </a:path>
              <a:path w="4716780" h="228600">
                <a:moveTo>
                  <a:pt x="4686934" y="99615"/>
                </a:moveTo>
                <a:lnTo>
                  <a:pt x="4674743" y="99615"/>
                </a:lnTo>
                <a:lnTo>
                  <a:pt x="4674743" y="128825"/>
                </a:lnTo>
                <a:lnTo>
                  <a:pt x="4686934" y="128825"/>
                </a:lnTo>
                <a:lnTo>
                  <a:pt x="4686934" y="99615"/>
                </a:lnTo>
                <a:close/>
              </a:path>
              <a:path w="4716780" h="228600">
                <a:moveTo>
                  <a:pt x="4570904" y="0"/>
                </a:moveTo>
                <a:lnTo>
                  <a:pt x="4563913" y="2026"/>
                </a:lnTo>
                <a:lnTo>
                  <a:pt x="4558030" y="6778"/>
                </a:lnTo>
                <a:lnTo>
                  <a:pt x="4554424" y="13448"/>
                </a:lnTo>
                <a:lnTo>
                  <a:pt x="4553664" y="20700"/>
                </a:lnTo>
                <a:lnTo>
                  <a:pt x="4555690" y="27691"/>
                </a:lnTo>
                <a:lnTo>
                  <a:pt x="4560443" y="33575"/>
                </a:lnTo>
                <a:lnTo>
                  <a:pt x="4657217" y="114220"/>
                </a:lnTo>
                <a:lnTo>
                  <a:pt x="4674743" y="99615"/>
                </a:lnTo>
                <a:lnTo>
                  <a:pt x="4686934" y="99615"/>
                </a:lnTo>
                <a:lnTo>
                  <a:pt x="4686934" y="95170"/>
                </a:lnTo>
                <a:lnTo>
                  <a:pt x="4693792" y="95170"/>
                </a:lnTo>
                <a:lnTo>
                  <a:pt x="4584827" y="4365"/>
                </a:lnTo>
                <a:lnTo>
                  <a:pt x="4578157" y="760"/>
                </a:lnTo>
                <a:lnTo>
                  <a:pt x="4570904" y="0"/>
                </a:lnTo>
                <a:close/>
              </a:path>
            </a:pathLst>
          </a:custGeom>
          <a:solidFill>
            <a:srgbClr val="000000"/>
          </a:solidFill>
        </p:spPr>
        <p:txBody>
          <a:bodyPr wrap="square" lIns="0" tIns="0" rIns="0" bIns="0" rtlCol="0"/>
          <a:lstStyle/>
          <a:p>
            <a:pPr defTabSz="912754"/>
            <a:endParaRPr>
              <a:solidFill>
                <a:prstClr val="black"/>
              </a:solidFill>
            </a:endParaRPr>
          </a:p>
        </p:txBody>
      </p:sp>
      <p:sp>
        <p:nvSpPr>
          <p:cNvPr id="71" name="object 3"/>
          <p:cNvSpPr/>
          <p:nvPr/>
        </p:nvSpPr>
        <p:spPr>
          <a:xfrm>
            <a:off x="3222117" y="2020555"/>
            <a:ext cx="207326" cy="1982045"/>
          </a:xfrm>
          <a:custGeom>
            <a:avLst/>
            <a:gdLst/>
            <a:ahLst/>
            <a:cxnLst/>
            <a:rect l="l" t="t" r="r" b="b"/>
            <a:pathLst>
              <a:path w="228600" h="2595879">
                <a:moveTo>
                  <a:pt x="114220" y="59436"/>
                </a:moveTo>
                <a:lnTo>
                  <a:pt x="95170" y="82296"/>
                </a:lnTo>
                <a:lnTo>
                  <a:pt x="95170" y="2595499"/>
                </a:lnTo>
                <a:lnTo>
                  <a:pt x="133270" y="2595499"/>
                </a:lnTo>
                <a:lnTo>
                  <a:pt x="133270" y="82296"/>
                </a:lnTo>
                <a:lnTo>
                  <a:pt x="114220" y="59436"/>
                </a:lnTo>
                <a:close/>
              </a:path>
              <a:path w="228600" h="2595879">
                <a:moveTo>
                  <a:pt x="114220" y="0"/>
                </a:moveTo>
                <a:lnTo>
                  <a:pt x="4365" y="131826"/>
                </a:lnTo>
                <a:lnTo>
                  <a:pt x="760" y="138495"/>
                </a:lnTo>
                <a:lnTo>
                  <a:pt x="0" y="145748"/>
                </a:lnTo>
                <a:lnTo>
                  <a:pt x="2026" y="152739"/>
                </a:lnTo>
                <a:lnTo>
                  <a:pt x="6778" y="158623"/>
                </a:lnTo>
                <a:lnTo>
                  <a:pt x="13448" y="162228"/>
                </a:lnTo>
                <a:lnTo>
                  <a:pt x="20701" y="162988"/>
                </a:lnTo>
                <a:lnTo>
                  <a:pt x="27691" y="160962"/>
                </a:lnTo>
                <a:lnTo>
                  <a:pt x="33575" y="156210"/>
                </a:lnTo>
                <a:lnTo>
                  <a:pt x="95170" y="82296"/>
                </a:lnTo>
                <a:lnTo>
                  <a:pt x="95170" y="29718"/>
                </a:lnTo>
                <a:lnTo>
                  <a:pt x="138985" y="29718"/>
                </a:lnTo>
                <a:lnTo>
                  <a:pt x="114220" y="0"/>
                </a:lnTo>
                <a:close/>
              </a:path>
              <a:path w="228600" h="2595879">
                <a:moveTo>
                  <a:pt x="138985" y="29718"/>
                </a:moveTo>
                <a:lnTo>
                  <a:pt x="133270" y="29718"/>
                </a:lnTo>
                <a:lnTo>
                  <a:pt x="133270" y="82296"/>
                </a:lnTo>
                <a:lnTo>
                  <a:pt x="194865" y="156210"/>
                </a:lnTo>
                <a:lnTo>
                  <a:pt x="200749" y="160962"/>
                </a:lnTo>
                <a:lnTo>
                  <a:pt x="207740" y="162988"/>
                </a:lnTo>
                <a:lnTo>
                  <a:pt x="214993" y="162228"/>
                </a:lnTo>
                <a:lnTo>
                  <a:pt x="221662" y="158623"/>
                </a:lnTo>
                <a:lnTo>
                  <a:pt x="226415" y="152739"/>
                </a:lnTo>
                <a:lnTo>
                  <a:pt x="228441" y="145748"/>
                </a:lnTo>
                <a:lnTo>
                  <a:pt x="227681" y="138495"/>
                </a:lnTo>
                <a:lnTo>
                  <a:pt x="224075" y="131826"/>
                </a:lnTo>
                <a:lnTo>
                  <a:pt x="138985" y="29718"/>
                </a:lnTo>
                <a:close/>
              </a:path>
              <a:path w="228600" h="2595879">
                <a:moveTo>
                  <a:pt x="133270" y="29718"/>
                </a:moveTo>
                <a:lnTo>
                  <a:pt x="95170" y="29718"/>
                </a:lnTo>
                <a:lnTo>
                  <a:pt x="95170" y="82296"/>
                </a:lnTo>
                <a:lnTo>
                  <a:pt x="114220" y="59436"/>
                </a:lnTo>
                <a:lnTo>
                  <a:pt x="99615" y="41910"/>
                </a:lnTo>
                <a:lnTo>
                  <a:pt x="133270" y="41910"/>
                </a:lnTo>
                <a:lnTo>
                  <a:pt x="133270" y="29718"/>
                </a:lnTo>
                <a:close/>
              </a:path>
              <a:path w="228600" h="2595879">
                <a:moveTo>
                  <a:pt x="133270" y="41910"/>
                </a:moveTo>
                <a:lnTo>
                  <a:pt x="128825" y="41910"/>
                </a:lnTo>
                <a:lnTo>
                  <a:pt x="114220" y="59436"/>
                </a:lnTo>
                <a:lnTo>
                  <a:pt x="133270" y="82296"/>
                </a:lnTo>
                <a:lnTo>
                  <a:pt x="133270" y="41910"/>
                </a:lnTo>
                <a:close/>
              </a:path>
              <a:path w="228600" h="2595879">
                <a:moveTo>
                  <a:pt x="128825" y="41910"/>
                </a:moveTo>
                <a:lnTo>
                  <a:pt x="99615" y="41910"/>
                </a:lnTo>
                <a:lnTo>
                  <a:pt x="114220" y="59436"/>
                </a:lnTo>
                <a:lnTo>
                  <a:pt x="128825" y="41910"/>
                </a:lnTo>
                <a:close/>
              </a:path>
            </a:pathLst>
          </a:custGeom>
          <a:solidFill>
            <a:srgbClr val="000000"/>
          </a:solidFill>
        </p:spPr>
        <p:txBody>
          <a:bodyPr wrap="square" lIns="0" tIns="0" rIns="0" bIns="0" rtlCol="0"/>
          <a:lstStyle/>
          <a:p>
            <a:pPr defTabSz="912754"/>
            <a:endParaRPr>
              <a:solidFill>
                <a:prstClr val="black"/>
              </a:solidFill>
            </a:endParaRPr>
          </a:p>
        </p:txBody>
      </p:sp>
      <p:sp>
        <p:nvSpPr>
          <p:cNvPr id="72" name="object 4"/>
          <p:cNvSpPr/>
          <p:nvPr/>
        </p:nvSpPr>
        <p:spPr>
          <a:xfrm>
            <a:off x="3190094" y="3794098"/>
            <a:ext cx="7300933" cy="152119"/>
          </a:xfrm>
          <a:custGeom>
            <a:avLst/>
            <a:gdLst/>
            <a:ahLst/>
            <a:cxnLst/>
            <a:rect l="l" t="t" r="r" b="b"/>
            <a:pathLst>
              <a:path w="8622665" h="228600">
                <a:moveTo>
                  <a:pt x="8563102" y="114220"/>
                </a:moveTo>
                <a:lnTo>
                  <a:pt x="8466328" y="194865"/>
                </a:lnTo>
                <a:lnTo>
                  <a:pt x="8461557" y="200749"/>
                </a:lnTo>
                <a:lnTo>
                  <a:pt x="8459501" y="207740"/>
                </a:lnTo>
                <a:lnTo>
                  <a:pt x="8460255" y="214993"/>
                </a:lnTo>
                <a:lnTo>
                  <a:pt x="8463915" y="221662"/>
                </a:lnTo>
                <a:lnTo>
                  <a:pt x="8469798" y="226415"/>
                </a:lnTo>
                <a:lnTo>
                  <a:pt x="8476789" y="228441"/>
                </a:lnTo>
                <a:lnTo>
                  <a:pt x="8484042" y="227681"/>
                </a:lnTo>
                <a:lnTo>
                  <a:pt x="8490712" y="224075"/>
                </a:lnTo>
                <a:lnTo>
                  <a:pt x="8599678" y="133270"/>
                </a:lnTo>
                <a:lnTo>
                  <a:pt x="8592693" y="133270"/>
                </a:lnTo>
                <a:lnTo>
                  <a:pt x="8592693" y="128825"/>
                </a:lnTo>
                <a:lnTo>
                  <a:pt x="8580628" y="128825"/>
                </a:lnTo>
                <a:lnTo>
                  <a:pt x="8563102" y="114220"/>
                </a:lnTo>
                <a:close/>
              </a:path>
              <a:path w="8622665" h="228600">
                <a:moveTo>
                  <a:pt x="8540242" y="95170"/>
                </a:moveTo>
                <a:lnTo>
                  <a:pt x="0" y="95170"/>
                </a:lnTo>
                <a:lnTo>
                  <a:pt x="0" y="133270"/>
                </a:lnTo>
                <a:lnTo>
                  <a:pt x="8540242" y="133270"/>
                </a:lnTo>
                <a:lnTo>
                  <a:pt x="8563102" y="114220"/>
                </a:lnTo>
                <a:lnTo>
                  <a:pt x="8540242" y="95170"/>
                </a:lnTo>
                <a:close/>
              </a:path>
              <a:path w="8622665" h="228600">
                <a:moveTo>
                  <a:pt x="8599678" y="95170"/>
                </a:moveTo>
                <a:lnTo>
                  <a:pt x="8592693" y="95170"/>
                </a:lnTo>
                <a:lnTo>
                  <a:pt x="8592693" y="133270"/>
                </a:lnTo>
                <a:lnTo>
                  <a:pt x="8599678" y="133270"/>
                </a:lnTo>
                <a:lnTo>
                  <a:pt x="8622538" y="114220"/>
                </a:lnTo>
                <a:lnTo>
                  <a:pt x="8599678" y="95170"/>
                </a:lnTo>
                <a:close/>
              </a:path>
              <a:path w="8622665" h="228600">
                <a:moveTo>
                  <a:pt x="8580628" y="99615"/>
                </a:moveTo>
                <a:lnTo>
                  <a:pt x="8563102" y="114220"/>
                </a:lnTo>
                <a:lnTo>
                  <a:pt x="8580628" y="128825"/>
                </a:lnTo>
                <a:lnTo>
                  <a:pt x="8580628" y="99615"/>
                </a:lnTo>
                <a:close/>
              </a:path>
              <a:path w="8622665" h="228600">
                <a:moveTo>
                  <a:pt x="8592693" y="99615"/>
                </a:moveTo>
                <a:lnTo>
                  <a:pt x="8580628" y="99615"/>
                </a:lnTo>
                <a:lnTo>
                  <a:pt x="8580628" y="128825"/>
                </a:lnTo>
                <a:lnTo>
                  <a:pt x="8592693" y="128825"/>
                </a:lnTo>
                <a:lnTo>
                  <a:pt x="8592693" y="99615"/>
                </a:lnTo>
                <a:close/>
              </a:path>
              <a:path w="8622665" h="228600">
                <a:moveTo>
                  <a:pt x="8476789" y="0"/>
                </a:moveTo>
                <a:lnTo>
                  <a:pt x="8469798" y="2026"/>
                </a:lnTo>
                <a:lnTo>
                  <a:pt x="8463915" y="6778"/>
                </a:lnTo>
                <a:lnTo>
                  <a:pt x="8460255" y="13448"/>
                </a:lnTo>
                <a:lnTo>
                  <a:pt x="8459501" y="20700"/>
                </a:lnTo>
                <a:lnTo>
                  <a:pt x="8461557" y="27691"/>
                </a:lnTo>
                <a:lnTo>
                  <a:pt x="8466328" y="33575"/>
                </a:lnTo>
                <a:lnTo>
                  <a:pt x="8563102" y="114220"/>
                </a:lnTo>
                <a:lnTo>
                  <a:pt x="8580628" y="99615"/>
                </a:lnTo>
                <a:lnTo>
                  <a:pt x="8592693" y="99615"/>
                </a:lnTo>
                <a:lnTo>
                  <a:pt x="8592693" y="95170"/>
                </a:lnTo>
                <a:lnTo>
                  <a:pt x="8599678" y="95170"/>
                </a:lnTo>
                <a:lnTo>
                  <a:pt x="8490712" y="4365"/>
                </a:lnTo>
                <a:lnTo>
                  <a:pt x="8484042" y="760"/>
                </a:lnTo>
                <a:lnTo>
                  <a:pt x="8476789" y="0"/>
                </a:lnTo>
                <a:close/>
              </a:path>
            </a:pathLst>
          </a:custGeom>
          <a:solidFill>
            <a:srgbClr val="000000"/>
          </a:solidFill>
        </p:spPr>
        <p:txBody>
          <a:bodyPr wrap="square" lIns="0" tIns="0" rIns="0" bIns="0" rtlCol="0"/>
          <a:lstStyle/>
          <a:p>
            <a:pPr defTabSz="912754"/>
            <a:endParaRPr>
              <a:solidFill>
                <a:prstClr val="black"/>
              </a:solidFill>
            </a:endParaRPr>
          </a:p>
        </p:txBody>
      </p:sp>
      <p:sp>
        <p:nvSpPr>
          <p:cNvPr id="74" name="object 6"/>
          <p:cNvSpPr/>
          <p:nvPr/>
        </p:nvSpPr>
        <p:spPr>
          <a:xfrm>
            <a:off x="3523028" y="3747491"/>
            <a:ext cx="222056" cy="174092"/>
          </a:xfrm>
          <a:custGeom>
            <a:avLst/>
            <a:gdLst/>
            <a:ahLst/>
            <a:cxnLst/>
            <a:rect l="l" t="t" r="r" b="b"/>
            <a:pathLst>
              <a:path w="262255" h="261620">
                <a:moveTo>
                  <a:pt x="19050" y="0"/>
                </a:moveTo>
                <a:lnTo>
                  <a:pt x="131063" y="114173"/>
                </a:lnTo>
                <a:lnTo>
                  <a:pt x="245237" y="2159"/>
                </a:lnTo>
                <a:lnTo>
                  <a:pt x="261747" y="19050"/>
                </a:lnTo>
                <a:lnTo>
                  <a:pt x="147447" y="130937"/>
                </a:lnTo>
                <a:lnTo>
                  <a:pt x="259461" y="245237"/>
                </a:lnTo>
                <a:lnTo>
                  <a:pt x="242697" y="261619"/>
                </a:lnTo>
                <a:lnTo>
                  <a:pt x="130682" y="147447"/>
                </a:lnTo>
                <a:lnTo>
                  <a:pt x="16510" y="259334"/>
                </a:lnTo>
                <a:lnTo>
                  <a:pt x="0" y="242569"/>
                </a:lnTo>
                <a:lnTo>
                  <a:pt x="114300" y="130683"/>
                </a:lnTo>
                <a:lnTo>
                  <a:pt x="2286" y="16383"/>
                </a:lnTo>
                <a:lnTo>
                  <a:pt x="19050" y="0"/>
                </a:lnTo>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76" name="object 8"/>
          <p:cNvSpPr/>
          <p:nvPr/>
        </p:nvSpPr>
        <p:spPr>
          <a:xfrm>
            <a:off x="3920763" y="3746558"/>
            <a:ext cx="222056" cy="174092"/>
          </a:xfrm>
          <a:custGeom>
            <a:avLst/>
            <a:gdLst/>
            <a:ahLst/>
            <a:cxnLst/>
            <a:rect l="l" t="t" r="r" b="b"/>
            <a:pathLst>
              <a:path w="262255" h="261620">
                <a:moveTo>
                  <a:pt x="19050" y="0"/>
                </a:moveTo>
                <a:lnTo>
                  <a:pt x="131063" y="114173"/>
                </a:lnTo>
                <a:lnTo>
                  <a:pt x="245237" y="2159"/>
                </a:lnTo>
                <a:lnTo>
                  <a:pt x="261747" y="19050"/>
                </a:lnTo>
                <a:lnTo>
                  <a:pt x="147447" y="130937"/>
                </a:lnTo>
                <a:lnTo>
                  <a:pt x="259461" y="245237"/>
                </a:lnTo>
                <a:lnTo>
                  <a:pt x="242697" y="261619"/>
                </a:lnTo>
                <a:lnTo>
                  <a:pt x="130682" y="147447"/>
                </a:lnTo>
                <a:lnTo>
                  <a:pt x="16510" y="259334"/>
                </a:lnTo>
                <a:lnTo>
                  <a:pt x="0" y="242569"/>
                </a:lnTo>
                <a:lnTo>
                  <a:pt x="114300" y="130683"/>
                </a:lnTo>
                <a:lnTo>
                  <a:pt x="2286" y="16383"/>
                </a:lnTo>
                <a:lnTo>
                  <a:pt x="19050" y="0"/>
                </a:lnTo>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78" name="object 10"/>
          <p:cNvSpPr/>
          <p:nvPr/>
        </p:nvSpPr>
        <p:spPr>
          <a:xfrm>
            <a:off x="4361609" y="3755391"/>
            <a:ext cx="221517" cy="174092"/>
          </a:xfrm>
          <a:custGeom>
            <a:avLst/>
            <a:gdLst/>
            <a:ahLst/>
            <a:cxnLst/>
            <a:rect l="l" t="t" r="r" b="b"/>
            <a:pathLst>
              <a:path w="261620" h="261620">
                <a:moveTo>
                  <a:pt x="19050" y="0"/>
                </a:moveTo>
                <a:lnTo>
                  <a:pt x="130937" y="114173"/>
                </a:lnTo>
                <a:lnTo>
                  <a:pt x="245237" y="2159"/>
                </a:lnTo>
                <a:lnTo>
                  <a:pt x="261619" y="19050"/>
                </a:lnTo>
                <a:lnTo>
                  <a:pt x="147446" y="130937"/>
                </a:lnTo>
                <a:lnTo>
                  <a:pt x="259334" y="245237"/>
                </a:lnTo>
                <a:lnTo>
                  <a:pt x="242569" y="261619"/>
                </a:lnTo>
                <a:lnTo>
                  <a:pt x="130682" y="147447"/>
                </a:lnTo>
                <a:lnTo>
                  <a:pt x="16382" y="259334"/>
                </a:lnTo>
                <a:lnTo>
                  <a:pt x="0" y="242569"/>
                </a:lnTo>
                <a:lnTo>
                  <a:pt x="114172" y="130683"/>
                </a:lnTo>
                <a:lnTo>
                  <a:pt x="2158" y="16383"/>
                </a:lnTo>
                <a:lnTo>
                  <a:pt x="19050" y="0"/>
                </a:lnTo>
                <a:close/>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80" name="object 12"/>
          <p:cNvSpPr/>
          <p:nvPr/>
        </p:nvSpPr>
        <p:spPr>
          <a:xfrm>
            <a:off x="4870103" y="3758789"/>
            <a:ext cx="221517" cy="174092"/>
          </a:xfrm>
          <a:custGeom>
            <a:avLst/>
            <a:gdLst/>
            <a:ahLst/>
            <a:cxnLst/>
            <a:rect l="l" t="t" r="r" b="b"/>
            <a:pathLst>
              <a:path w="261620" h="261620">
                <a:moveTo>
                  <a:pt x="19050" y="0"/>
                </a:moveTo>
                <a:lnTo>
                  <a:pt x="130937" y="114173"/>
                </a:lnTo>
                <a:lnTo>
                  <a:pt x="245237" y="2159"/>
                </a:lnTo>
                <a:lnTo>
                  <a:pt x="261619" y="19050"/>
                </a:lnTo>
                <a:lnTo>
                  <a:pt x="147447" y="130937"/>
                </a:lnTo>
                <a:lnTo>
                  <a:pt x="259334" y="245237"/>
                </a:lnTo>
                <a:lnTo>
                  <a:pt x="242569" y="261619"/>
                </a:lnTo>
                <a:lnTo>
                  <a:pt x="130682" y="147447"/>
                </a:lnTo>
                <a:lnTo>
                  <a:pt x="16382" y="259334"/>
                </a:lnTo>
                <a:lnTo>
                  <a:pt x="0" y="242569"/>
                </a:lnTo>
                <a:lnTo>
                  <a:pt x="114173" y="130683"/>
                </a:lnTo>
                <a:lnTo>
                  <a:pt x="2159" y="16383"/>
                </a:lnTo>
                <a:lnTo>
                  <a:pt x="19050" y="0"/>
                </a:lnTo>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84" name="object 16"/>
          <p:cNvSpPr/>
          <p:nvPr/>
        </p:nvSpPr>
        <p:spPr>
          <a:xfrm>
            <a:off x="5444989" y="2087100"/>
            <a:ext cx="221517" cy="174092"/>
          </a:xfrm>
          <a:custGeom>
            <a:avLst/>
            <a:gdLst/>
            <a:ahLst/>
            <a:cxnLst/>
            <a:rect l="l" t="t" r="r" b="b"/>
            <a:pathLst>
              <a:path w="261620" h="261619">
                <a:moveTo>
                  <a:pt x="19050" y="0"/>
                </a:moveTo>
                <a:lnTo>
                  <a:pt x="130937" y="114173"/>
                </a:lnTo>
                <a:lnTo>
                  <a:pt x="245237" y="2159"/>
                </a:lnTo>
                <a:lnTo>
                  <a:pt x="261619" y="18923"/>
                </a:lnTo>
                <a:lnTo>
                  <a:pt x="147447" y="130937"/>
                </a:lnTo>
                <a:lnTo>
                  <a:pt x="259334" y="245110"/>
                </a:lnTo>
                <a:lnTo>
                  <a:pt x="242569" y="261619"/>
                </a:lnTo>
                <a:lnTo>
                  <a:pt x="130682" y="147447"/>
                </a:lnTo>
                <a:lnTo>
                  <a:pt x="16382" y="259334"/>
                </a:lnTo>
                <a:lnTo>
                  <a:pt x="0" y="242569"/>
                </a:lnTo>
                <a:lnTo>
                  <a:pt x="114173" y="130555"/>
                </a:lnTo>
                <a:lnTo>
                  <a:pt x="2159" y="16382"/>
                </a:lnTo>
                <a:lnTo>
                  <a:pt x="19050" y="0"/>
                </a:lnTo>
                <a:close/>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86" name="object 18"/>
          <p:cNvSpPr/>
          <p:nvPr/>
        </p:nvSpPr>
        <p:spPr>
          <a:xfrm>
            <a:off x="6026879" y="2087100"/>
            <a:ext cx="221517" cy="174092"/>
          </a:xfrm>
          <a:custGeom>
            <a:avLst/>
            <a:gdLst/>
            <a:ahLst/>
            <a:cxnLst/>
            <a:rect l="l" t="t" r="r" b="b"/>
            <a:pathLst>
              <a:path w="261620" h="261619">
                <a:moveTo>
                  <a:pt x="19050" y="0"/>
                </a:moveTo>
                <a:lnTo>
                  <a:pt x="130937" y="114173"/>
                </a:lnTo>
                <a:lnTo>
                  <a:pt x="245237" y="2159"/>
                </a:lnTo>
                <a:lnTo>
                  <a:pt x="261619" y="18923"/>
                </a:lnTo>
                <a:lnTo>
                  <a:pt x="147447" y="130937"/>
                </a:lnTo>
                <a:lnTo>
                  <a:pt x="259334" y="245110"/>
                </a:lnTo>
                <a:lnTo>
                  <a:pt x="242569" y="261619"/>
                </a:lnTo>
                <a:lnTo>
                  <a:pt x="130682" y="147447"/>
                </a:lnTo>
                <a:lnTo>
                  <a:pt x="16382" y="259334"/>
                </a:lnTo>
                <a:lnTo>
                  <a:pt x="0" y="242569"/>
                </a:lnTo>
                <a:lnTo>
                  <a:pt x="114173" y="130555"/>
                </a:lnTo>
                <a:lnTo>
                  <a:pt x="2159" y="16382"/>
                </a:lnTo>
                <a:lnTo>
                  <a:pt x="19050" y="0"/>
                </a:lnTo>
                <a:close/>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88" name="object 20"/>
          <p:cNvSpPr/>
          <p:nvPr/>
        </p:nvSpPr>
        <p:spPr>
          <a:xfrm>
            <a:off x="6578215" y="2097418"/>
            <a:ext cx="222056" cy="174092"/>
          </a:xfrm>
          <a:custGeom>
            <a:avLst/>
            <a:gdLst/>
            <a:ahLst/>
            <a:cxnLst/>
            <a:rect l="l" t="t" r="r" b="b"/>
            <a:pathLst>
              <a:path w="262254" h="261619">
                <a:moveTo>
                  <a:pt x="19050" y="0"/>
                </a:moveTo>
                <a:lnTo>
                  <a:pt x="131063" y="114173"/>
                </a:lnTo>
                <a:lnTo>
                  <a:pt x="245236" y="2159"/>
                </a:lnTo>
                <a:lnTo>
                  <a:pt x="261746" y="18923"/>
                </a:lnTo>
                <a:lnTo>
                  <a:pt x="147573" y="130937"/>
                </a:lnTo>
                <a:lnTo>
                  <a:pt x="259460" y="245110"/>
                </a:lnTo>
                <a:lnTo>
                  <a:pt x="242696" y="261619"/>
                </a:lnTo>
                <a:lnTo>
                  <a:pt x="130682" y="147447"/>
                </a:lnTo>
                <a:lnTo>
                  <a:pt x="16509" y="259334"/>
                </a:lnTo>
                <a:lnTo>
                  <a:pt x="0" y="242569"/>
                </a:lnTo>
                <a:lnTo>
                  <a:pt x="114300" y="130555"/>
                </a:lnTo>
                <a:lnTo>
                  <a:pt x="2285" y="16382"/>
                </a:lnTo>
                <a:lnTo>
                  <a:pt x="19050" y="0"/>
                </a:lnTo>
                <a:close/>
              </a:path>
            </a:pathLst>
          </a:custGeom>
          <a:ln w="25400">
            <a:solidFill>
              <a:srgbClr val="FF0000"/>
            </a:solidFill>
          </a:ln>
        </p:spPr>
        <p:txBody>
          <a:bodyPr wrap="square" lIns="0" tIns="0" rIns="0" bIns="0" rtlCol="0"/>
          <a:lstStyle/>
          <a:p>
            <a:pPr defTabSz="912754"/>
            <a:endParaRPr>
              <a:solidFill>
                <a:prstClr val="black"/>
              </a:solidFill>
            </a:endParaRPr>
          </a:p>
        </p:txBody>
      </p:sp>
      <p:sp>
        <p:nvSpPr>
          <p:cNvPr id="89" name="object 21"/>
          <p:cNvSpPr txBox="1"/>
          <p:nvPr/>
        </p:nvSpPr>
        <p:spPr>
          <a:xfrm>
            <a:off x="1618538" y="3089269"/>
            <a:ext cx="1509994" cy="276999"/>
          </a:xfrm>
          <a:prstGeom prst="rect">
            <a:avLst/>
          </a:prstGeom>
        </p:spPr>
        <p:txBody>
          <a:bodyPr vert="horz" wrap="square" lIns="0" tIns="0" rIns="0" bIns="0" rtlCol="0">
            <a:spAutoFit/>
          </a:bodyPr>
          <a:lstStyle/>
          <a:p>
            <a:pPr marL="12677" defTabSz="912754"/>
            <a:r>
              <a:rPr dirty="0">
                <a:solidFill>
                  <a:prstClr val="black"/>
                </a:solidFill>
                <a:cs typeface="Segoe UI Light"/>
              </a:rPr>
              <a:t>Malignant</a:t>
            </a:r>
            <a:r>
              <a:rPr spc="-95" dirty="0">
                <a:solidFill>
                  <a:prstClr val="black"/>
                </a:solidFill>
                <a:cs typeface="Segoe UI Light"/>
              </a:rPr>
              <a:t> </a:t>
            </a:r>
            <a:r>
              <a:rPr dirty="0">
                <a:solidFill>
                  <a:prstClr val="black"/>
                </a:solidFill>
                <a:cs typeface="Segoe UI Light"/>
              </a:rPr>
              <a:t>?</a:t>
            </a:r>
          </a:p>
        </p:txBody>
      </p:sp>
      <p:sp>
        <p:nvSpPr>
          <p:cNvPr id="90" name="object 22"/>
          <p:cNvSpPr/>
          <p:nvPr/>
        </p:nvSpPr>
        <p:spPr>
          <a:xfrm flipV="1">
            <a:off x="3128532" y="1986359"/>
            <a:ext cx="258078" cy="45634"/>
          </a:xfrm>
          <a:custGeom>
            <a:avLst/>
            <a:gdLst/>
            <a:ahLst/>
            <a:cxnLst/>
            <a:rect l="l" t="t" r="r" b="b"/>
            <a:pathLst>
              <a:path w="304800">
                <a:moveTo>
                  <a:pt x="0" y="0"/>
                </a:moveTo>
                <a:lnTo>
                  <a:pt x="304800" y="0"/>
                </a:lnTo>
              </a:path>
            </a:pathLst>
          </a:custGeom>
          <a:ln w="32004">
            <a:solidFill>
              <a:srgbClr val="0D0D0D"/>
            </a:solidFill>
          </a:ln>
        </p:spPr>
        <p:txBody>
          <a:bodyPr wrap="square" lIns="0" tIns="0" rIns="0" bIns="0" rtlCol="0"/>
          <a:lstStyle/>
          <a:p>
            <a:pPr defTabSz="912754"/>
            <a:endParaRPr>
              <a:solidFill>
                <a:prstClr val="black"/>
              </a:solidFill>
            </a:endParaRPr>
          </a:p>
        </p:txBody>
      </p:sp>
      <p:sp>
        <p:nvSpPr>
          <p:cNvPr id="91" name="object 23"/>
          <p:cNvSpPr txBox="1"/>
          <p:nvPr/>
        </p:nvSpPr>
        <p:spPr>
          <a:xfrm>
            <a:off x="2293730" y="2107588"/>
            <a:ext cx="899610" cy="276999"/>
          </a:xfrm>
          <a:prstGeom prst="rect">
            <a:avLst/>
          </a:prstGeom>
        </p:spPr>
        <p:txBody>
          <a:bodyPr vert="horz" wrap="square" lIns="0" tIns="0" rIns="0" bIns="0" rtlCol="0">
            <a:spAutoFit/>
          </a:bodyPr>
          <a:lstStyle/>
          <a:p>
            <a:pPr marL="12677" defTabSz="912754"/>
            <a:r>
              <a:rPr spc="-55" dirty="0">
                <a:solidFill>
                  <a:prstClr val="black"/>
                </a:solidFill>
                <a:cs typeface="Segoe UI Light"/>
              </a:rPr>
              <a:t>(Yes)</a:t>
            </a:r>
            <a:r>
              <a:rPr spc="-105" dirty="0">
                <a:solidFill>
                  <a:prstClr val="black"/>
                </a:solidFill>
                <a:cs typeface="Segoe UI Light"/>
              </a:rPr>
              <a:t> </a:t>
            </a:r>
            <a:r>
              <a:rPr spc="314" dirty="0">
                <a:solidFill>
                  <a:prstClr val="black"/>
                </a:solidFill>
                <a:cs typeface="Segoe UI Light"/>
              </a:rPr>
              <a:t>1</a:t>
            </a:r>
            <a:endParaRPr dirty="0">
              <a:solidFill>
                <a:prstClr val="black"/>
              </a:solidFill>
              <a:cs typeface="Segoe UI Light"/>
            </a:endParaRPr>
          </a:p>
        </p:txBody>
      </p:sp>
      <p:sp>
        <p:nvSpPr>
          <p:cNvPr id="92" name="object 24"/>
          <p:cNvSpPr txBox="1"/>
          <p:nvPr/>
        </p:nvSpPr>
        <p:spPr>
          <a:xfrm>
            <a:off x="2292545" y="3719018"/>
            <a:ext cx="2993710" cy="630942"/>
          </a:xfrm>
          <a:prstGeom prst="rect">
            <a:avLst/>
          </a:prstGeom>
        </p:spPr>
        <p:txBody>
          <a:bodyPr vert="horz" wrap="square" lIns="0" tIns="0" rIns="0" bIns="0" rtlCol="0">
            <a:spAutoFit/>
          </a:bodyPr>
          <a:lstStyle/>
          <a:p>
            <a:pPr marL="12677" defTabSz="912754"/>
            <a:r>
              <a:rPr spc="-5" dirty="0">
                <a:solidFill>
                  <a:prstClr val="black"/>
                </a:solidFill>
                <a:cs typeface="Segoe UI Light"/>
              </a:rPr>
              <a:t>(No)</a:t>
            </a:r>
            <a:r>
              <a:rPr spc="-100" dirty="0">
                <a:solidFill>
                  <a:prstClr val="black"/>
                </a:solidFill>
                <a:cs typeface="Segoe UI Light"/>
              </a:rPr>
              <a:t> </a:t>
            </a:r>
            <a:r>
              <a:rPr dirty="0">
                <a:solidFill>
                  <a:prstClr val="black"/>
                </a:solidFill>
                <a:cs typeface="Segoe UI Light"/>
              </a:rPr>
              <a:t>0</a:t>
            </a:r>
          </a:p>
          <a:p>
            <a:pPr marR="5071" algn="r" defTabSz="912754">
              <a:spcBef>
                <a:spcPts val="629"/>
              </a:spcBef>
            </a:pPr>
            <a:r>
              <a:rPr spc="-60" dirty="0">
                <a:solidFill>
                  <a:prstClr val="black"/>
                </a:solidFill>
                <a:cs typeface="Segoe UI Light"/>
              </a:rPr>
              <a:t>Tumor</a:t>
            </a:r>
            <a:r>
              <a:rPr spc="-75" dirty="0">
                <a:solidFill>
                  <a:prstClr val="black"/>
                </a:solidFill>
                <a:cs typeface="Segoe UI Light"/>
              </a:rPr>
              <a:t> </a:t>
            </a:r>
            <a:r>
              <a:rPr spc="-5" dirty="0">
                <a:solidFill>
                  <a:prstClr val="black"/>
                </a:solidFill>
                <a:cs typeface="Segoe UI Light"/>
              </a:rPr>
              <a:t>Size</a:t>
            </a:r>
            <a:endParaRPr dirty="0">
              <a:solidFill>
                <a:prstClr val="black"/>
              </a:solidFill>
              <a:cs typeface="Segoe UI Light"/>
            </a:endParaRPr>
          </a:p>
        </p:txBody>
      </p:sp>
      <p:sp>
        <p:nvSpPr>
          <p:cNvPr id="94" name="object 26"/>
          <p:cNvSpPr/>
          <p:nvPr/>
        </p:nvSpPr>
        <p:spPr>
          <a:xfrm>
            <a:off x="10241912" y="1707541"/>
            <a:ext cx="221517" cy="174092"/>
          </a:xfrm>
          <a:custGeom>
            <a:avLst/>
            <a:gdLst/>
            <a:ahLst/>
            <a:cxnLst/>
            <a:rect l="l" t="t" r="r" b="b"/>
            <a:pathLst>
              <a:path w="261620" h="261619">
                <a:moveTo>
                  <a:pt x="19050" y="0"/>
                </a:moveTo>
                <a:lnTo>
                  <a:pt x="130936" y="114173"/>
                </a:lnTo>
                <a:lnTo>
                  <a:pt x="245236" y="2159"/>
                </a:lnTo>
                <a:lnTo>
                  <a:pt x="261619" y="18923"/>
                </a:lnTo>
                <a:lnTo>
                  <a:pt x="147446" y="130937"/>
                </a:lnTo>
                <a:lnTo>
                  <a:pt x="259333" y="245110"/>
                </a:lnTo>
                <a:lnTo>
                  <a:pt x="242569" y="261619"/>
                </a:lnTo>
                <a:lnTo>
                  <a:pt x="130682" y="147447"/>
                </a:lnTo>
                <a:lnTo>
                  <a:pt x="16382" y="259334"/>
                </a:lnTo>
                <a:lnTo>
                  <a:pt x="0" y="242569"/>
                </a:lnTo>
                <a:lnTo>
                  <a:pt x="114172" y="130555"/>
                </a:lnTo>
                <a:lnTo>
                  <a:pt x="2158" y="16382"/>
                </a:lnTo>
                <a:lnTo>
                  <a:pt x="19050" y="0"/>
                </a:lnTo>
                <a:close/>
              </a:path>
            </a:pathLst>
          </a:custGeom>
          <a:ln w="25400">
            <a:solidFill>
              <a:srgbClr val="5FE8FB"/>
            </a:solidFill>
          </a:ln>
        </p:spPr>
        <p:txBody>
          <a:bodyPr wrap="square" lIns="0" tIns="0" rIns="0" bIns="0" rtlCol="0"/>
          <a:lstStyle/>
          <a:p>
            <a:pPr defTabSz="912754"/>
            <a:endParaRPr>
              <a:solidFill>
                <a:prstClr val="black"/>
              </a:solidFill>
            </a:endParaRPr>
          </a:p>
        </p:txBody>
      </p:sp>
      <p:sp>
        <p:nvSpPr>
          <p:cNvPr id="95" name="object 28"/>
          <p:cNvSpPr txBox="1"/>
          <p:nvPr/>
        </p:nvSpPr>
        <p:spPr>
          <a:xfrm>
            <a:off x="5666505" y="857356"/>
            <a:ext cx="69897" cy="307208"/>
          </a:xfrm>
          <a:prstGeom prst="rect">
            <a:avLst/>
          </a:prstGeom>
        </p:spPr>
        <p:txBody>
          <a:bodyPr vert="horz" wrap="square" lIns="0" tIns="0" rIns="0" bIns="0" rtlCol="0">
            <a:spAutoFit/>
          </a:bodyPr>
          <a:lstStyle/>
          <a:p>
            <a:pPr marL="12677" defTabSz="912754"/>
            <a:r>
              <a:rPr sz="1996" dirty="0">
                <a:solidFill>
                  <a:prstClr val="black"/>
                </a:solidFill>
                <a:latin typeface="Segoe UI Light"/>
                <a:cs typeface="Segoe UI Light"/>
              </a:rPr>
              <a:t>.</a:t>
            </a:r>
            <a:endParaRPr sz="1996">
              <a:solidFill>
                <a:prstClr val="black"/>
              </a:solidFill>
              <a:latin typeface="Segoe UI Light"/>
              <a:cs typeface="Segoe UI Light"/>
            </a:endParaRPr>
          </a:p>
        </p:txBody>
      </p:sp>
      <p:sp>
        <p:nvSpPr>
          <p:cNvPr id="96" name="object 29"/>
          <p:cNvSpPr/>
          <p:nvPr/>
        </p:nvSpPr>
        <p:spPr>
          <a:xfrm>
            <a:off x="3352860" y="3011578"/>
            <a:ext cx="2015163" cy="45634"/>
          </a:xfrm>
          <a:custGeom>
            <a:avLst/>
            <a:gdLst/>
            <a:ahLst/>
            <a:cxnLst/>
            <a:rect l="l" t="t" r="r" b="b"/>
            <a:pathLst>
              <a:path w="2379979" h="8889">
                <a:moveTo>
                  <a:pt x="0" y="8381"/>
                </a:moveTo>
                <a:lnTo>
                  <a:pt x="2379599" y="0"/>
                </a:lnTo>
              </a:path>
            </a:pathLst>
          </a:custGeom>
          <a:ln w="38100">
            <a:solidFill>
              <a:srgbClr val="FFFF00"/>
            </a:solidFill>
            <a:prstDash val="lgDash"/>
          </a:ln>
        </p:spPr>
        <p:txBody>
          <a:bodyPr wrap="square" lIns="0" tIns="0" rIns="0" bIns="0" rtlCol="0"/>
          <a:lstStyle/>
          <a:p>
            <a:pPr defTabSz="912754"/>
            <a:endParaRPr>
              <a:solidFill>
                <a:prstClr val="black"/>
              </a:solidFill>
            </a:endParaRPr>
          </a:p>
        </p:txBody>
      </p:sp>
      <p:sp>
        <p:nvSpPr>
          <p:cNvPr id="97" name="object 30"/>
          <p:cNvSpPr/>
          <p:nvPr/>
        </p:nvSpPr>
        <p:spPr>
          <a:xfrm>
            <a:off x="5452847" y="3180042"/>
            <a:ext cx="45634" cy="580589"/>
          </a:xfrm>
          <a:custGeom>
            <a:avLst/>
            <a:gdLst/>
            <a:ahLst/>
            <a:cxnLst/>
            <a:rect l="l" t="t" r="r" b="b"/>
            <a:pathLst>
              <a:path w="10160" h="872489">
                <a:moveTo>
                  <a:pt x="10032" y="872236"/>
                </a:moveTo>
                <a:lnTo>
                  <a:pt x="0" y="0"/>
                </a:lnTo>
              </a:path>
            </a:pathLst>
          </a:custGeom>
          <a:ln w="38099">
            <a:solidFill>
              <a:srgbClr val="FFFF00"/>
            </a:solidFill>
            <a:prstDash val="lgDash"/>
          </a:ln>
        </p:spPr>
        <p:txBody>
          <a:bodyPr wrap="square" lIns="0" tIns="0" rIns="0" bIns="0" rtlCol="0"/>
          <a:lstStyle/>
          <a:p>
            <a:pPr defTabSz="912754"/>
            <a:endParaRPr>
              <a:solidFill>
                <a:prstClr val="black"/>
              </a:solidFill>
            </a:endParaRPr>
          </a:p>
        </p:txBody>
      </p:sp>
      <p:sp>
        <p:nvSpPr>
          <p:cNvPr id="98" name="object 31"/>
          <p:cNvSpPr txBox="1"/>
          <p:nvPr/>
        </p:nvSpPr>
        <p:spPr>
          <a:xfrm>
            <a:off x="2887156" y="2969902"/>
            <a:ext cx="417452" cy="276999"/>
          </a:xfrm>
          <a:prstGeom prst="rect">
            <a:avLst/>
          </a:prstGeom>
        </p:spPr>
        <p:txBody>
          <a:bodyPr vert="horz" wrap="square" lIns="0" tIns="0" rIns="0" bIns="0" rtlCol="0">
            <a:spAutoFit/>
          </a:bodyPr>
          <a:lstStyle/>
          <a:p>
            <a:pPr marL="12677" defTabSz="912754"/>
            <a:r>
              <a:rPr spc="-5" dirty="0">
                <a:solidFill>
                  <a:prstClr val="black"/>
                </a:solidFill>
                <a:cs typeface="Segoe UI Light"/>
              </a:rPr>
              <a:t>0.5</a:t>
            </a:r>
            <a:endParaRPr dirty="0">
              <a:solidFill>
                <a:prstClr val="black"/>
              </a:solidFill>
              <a:cs typeface="Segoe UI Light"/>
            </a:endParaRPr>
          </a:p>
        </p:txBody>
      </p:sp>
      <p:sp>
        <p:nvSpPr>
          <p:cNvPr id="99" name="object 33"/>
          <p:cNvSpPr/>
          <p:nvPr/>
        </p:nvSpPr>
        <p:spPr>
          <a:xfrm>
            <a:off x="3381476" y="2873491"/>
            <a:ext cx="2903921" cy="45634"/>
          </a:xfrm>
          <a:custGeom>
            <a:avLst/>
            <a:gdLst/>
            <a:ahLst/>
            <a:cxnLst/>
            <a:rect l="l" t="t" r="r" b="b"/>
            <a:pathLst>
              <a:path w="3429635" h="48260">
                <a:moveTo>
                  <a:pt x="0" y="0"/>
                </a:moveTo>
                <a:lnTo>
                  <a:pt x="3429507" y="48133"/>
                </a:lnTo>
              </a:path>
            </a:pathLst>
          </a:custGeom>
          <a:ln w="38099">
            <a:solidFill>
              <a:srgbClr val="5FE8FB"/>
            </a:solidFill>
            <a:prstDash val="lgDash"/>
          </a:ln>
        </p:spPr>
        <p:txBody>
          <a:bodyPr wrap="square" lIns="0" tIns="0" rIns="0" bIns="0" rtlCol="0"/>
          <a:lstStyle/>
          <a:p>
            <a:pPr defTabSz="912754"/>
            <a:endParaRPr>
              <a:solidFill>
                <a:prstClr val="black"/>
              </a:solidFill>
            </a:endParaRPr>
          </a:p>
        </p:txBody>
      </p:sp>
      <p:sp>
        <p:nvSpPr>
          <p:cNvPr id="100" name="object 34"/>
          <p:cNvSpPr/>
          <p:nvPr/>
        </p:nvSpPr>
        <p:spPr>
          <a:xfrm>
            <a:off x="6293952" y="2933140"/>
            <a:ext cx="45634" cy="804575"/>
          </a:xfrm>
          <a:custGeom>
            <a:avLst/>
            <a:gdLst/>
            <a:ahLst/>
            <a:cxnLst/>
            <a:rect l="l" t="t" r="r" b="b"/>
            <a:pathLst>
              <a:path w="8889" h="951229">
                <a:moveTo>
                  <a:pt x="8509" y="950849"/>
                </a:moveTo>
                <a:lnTo>
                  <a:pt x="0" y="0"/>
                </a:lnTo>
              </a:path>
            </a:pathLst>
          </a:custGeom>
          <a:ln w="38099">
            <a:solidFill>
              <a:srgbClr val="5FE8FB"/>
            </a:solidFill>
            <a:prstDash val="lgDash"/>
          </a:ln>
        </p:spPr>
        <p:txBody>
          <a:bodyPr wrap="square" lIns="0" tIns="0" rIns="0" bIns="0" rtlCol="0"/>
          <a:lstStyle/>
          <a:p>
            <a:pPr defTabSz="912754"/>
            <a:endParaRPr>
              <a:solidFill>
                <a:prstClr val="black"/>
              </a:solidFill>
            </a:endParaRPr>
          </a:p>
        </p:txBody>
      </p:sp>
      <p:sp>
        <p:nvSpPr>
          <p:cNvPr id="101" name="object 38"/>
          <p:cNvSpPr txBox="1"/>
          <p:nvPr/>
        </p:nvSpPr>
        <p:spPr>
          <a:xfrm>
            <a:off x="6626971" y="4580964"/>
            <a:ext cx="2868515" cy="553998"/>
          </a:xfrm>
          <a:prstGeom prst="rect">
            <a:avLst/>
          </a:prstGeom>
        </p:spPr>
        <p:txBody>
          <a:bodyPr vert="horz" wrap="square" lIns="0" tIns="0" rIns="0" bIns="0" rtlCol="0">
            <a:spAutoFit/>
          </a:bodyPr>
          <a:lstStyle/>
          <a:p>
            <a:pPr marL="12677" defTabSz="912754"/>
            <a:r>
              <a:rPr u="sng" spc="5" dirty="0">
                <a:solidFill>
                  <a:prstClr val="black"/>
                </a:solidFill>
                <a:cs typeface="Segoe UI Light"/>
              </a:rPr>
              <a:t>Case 2 :</a:t>
            </a:r>
          </a:p>
          <a:p>
            <a:pPr marL="12677" marR="5071" defTabSz="912754"/>
            <a:r>
              <a:rPr spc="5" dirty="0">
                <a:solidFill>
                  <a:prstClr val="black"/>
                </a:solidFill>
                <a:cs typeface="Segoe UI Light"/>
              </a:rPr>
              <a:t>One training value added</a:t>
            </a:r>
          </a:p>
        </p:txBody>
      </p:sp>
      <p:pic>
        <p:nvPicPr>
          <p:cNvPr id="3" name="Picture 2"/>
          <p:cNvPicPr>
            <a:picLocks noChangeAspect="1"/>
          </p:cNvPicPr>
          <p:nvPr/>
        </p:nvPicPr>
        <p:blipFill>
          <a:blip r:embed="rId3"/>
          <a:stretch>
            <a:fillRect/>
          </a:stretch>
        </p:blipFill>
        <p:spPr>
          <a:xfrm>
            <a:off x="7126238" y="2076782"/>
            <a:ext cx="243410" cy="194728"/>
          </a:xfrm>
          <a:prstGeom prst="rect">
            <a:avLst/>
          </a:prstGeom>
        </p:spPr>
      </p:pic>
      <p:cxnSp>
        <p:nvCxnSpPr>
          <p:cNvPr id="104" name="Straight Connector 103"/>
          <p:cNvCxnSpPr/>
          <p:nvPr/>
        </p:nvCxnSpPr>
        <p:spPr>
          <a:xfrm flipV="1">
            <a:off x="2168834" y="1360205"/>
            <a:ext cx="8045480" cy="3050030"/>
          </a:xfrm>
          <a:prstGeom prst="line">
            <a:avLst/>
          </a:prstGeom>
          <a:ln>
            <a:solidFill>
              <a:srgbClr val="5FE8FB"/>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V="1">
            <a:off x="3285169" y="1360205"/>
            <a:ext cx="4951972" cy="3040587"/>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pic>
        <p:nvPicPr>
          <p:cNvPr id="113" name="Picture 112"/>
          <p:cNvPicPr>
            <a:picLocks noChangeAspect="1"/>
          </p:cNvPicPr>
          <p:nvPr/>
        </p:nvPicPr>
        <p:blipFill>
          <a:blip r:embed="rId4"/>
          <a:stretch>
            <a:fillRect/>
          </a:stretch>
        </p:blipFill>
        <p:spPr>
          <a:xfrm>
            <a:off x="9034550" y="4514299"/>
            <a:ext cx="1631337" cy="1568778"/>
          </a:xfrm>
          <a:prstGeom prst="rect">
            <a:avLst/>
          </a:prstGeom>
        </p:spPr>
      </p:pic>
      <p:sp>
        <p:nvSpPr>
          <p:cNvPr id="115" name="TextBox 114"/>
          <p:cNvSpPr txBox="1"/>
          <p:nvPr/>
        </p:nvSpPr>
        <p:spPr>
          <a:xfrm>
            <a:off x="1745898" y="4739774"/>
            <a:ext cx="5096419" cy="1456809"/>
          </a:xfrm>
          <a:prstGeom prst="rect">
            <a:avLst/>
          </a:prstGeom>
          <a:noFill/>
        </p:spPr>
        <p:txBody>
          <a:bodyPr wrap="square" rtlCol="0">
            <a:spAutoFit/>
          </a:bodyPr>
          <a:lstStyle/>
          <a:p>
            <a:pPr marL="24720" defTabSz="912754"/>
            <a:r>
              <a:rPr lang="en-US" dirty="0" err="1">
                <a:solidFill>
                  <a:prstClr val="black"/>
                </a:solidFill>
                <a:cs typeface="Segoe UI Light"/>
              </a:rPr>
              <a:t>h</a:t>
            </a:r>
            <a:r>
              <a:rPr lang="en-US" baseline="-21367" dirty="0" err="1">
                <a:solidFill>
                  <a:prstClr val="black"/>
                </a:solidFill>
                <a:cs typeface="Segoe UI Light"/>
              </a:rPr>
              <a:t>θ</a:t>
            </a:r>
            <a:r>
              <a:rPr lang="en-US" dirty="0">
                <a:solidFill>
                  <a:prstClr val="black"/>
                </a:solidFill>
                <a:cs typeface="Segoe UI Light"/>
              </a:rPr>
              <a:t>(x) = </a:t>
            </a:r>
            <a:r>
              <a:rPr lang="en-US" spc="10" dirty="0" err="1">
                <a:solidFill>
                  <a:prstClr val="black"/>
                </a:solidFill>
                <a:cs typeface="Segoe UI Light"/>
              </a:rPr>
              <a:t>θ</a:t>
            </a:r>
            <a:r>
              <a:rPr lang="en-US" spc="15" baseline="25641" dirty="0" err="1">
                <a:solidFill>
                  <a:prstClr val="black"/>
                </a:solidFill>
                <a:cs typeface="Segoe UI Light"/>
              </a:rPr>
              <a:t>T</a:t>
            </a:r>
            <a:r>
              <a:rPr lang="en-US" spc="411" baseline="25641" dirty="0">
                <a:solidFill>
                  <a:prstClr val="black"/>
                </a:solidFill>
                <a:cs typeface="Segoe UI Light"/>
              </a:rPr>
              <a:t> </a:t>
            </a:r>
            <a:r>
              <a:rPr lang="en-US" dirty="0">
                <a:solidFill>
                  <a:prstClr val="black"/>
                </a:solidFill>
                <a:cs typeface="Segoe UI Light"/>
              </a:rPr>
              <a:t>x</a:t>
            </a:r>
          </a:p>
          <a:p>
            <a:pPr marL="12677" marR="5071" defTabSz="912754">
              <a:spcBef>
                <a:spcPts val="2031"/>
              </a:spcBef>
            </a:pPr>
            <a:r>
              <a:rPr lang="en-US" spc="5" dirty="0">
                <a:solidFill>
                  <a:prstClr val="black"/>
                </a:solidFill>
                <a:cs typeface="Segoe UI Light"/>
              </a:rPr>
              <a:t>Applying </a:t>
            </a:r>
            <a:r>
              <a:rPr lang="en-US" dirty="0">
                <a:solidFill>
                  <a:prstClr val="black"/>
                </a:solidFill>
                <a:cs typeface="Segoe UI Light"/>
              </a:rPr>
              <a:t>linear </a:t>
            </a:r>
            <a:r>
              <a:rPr lang="en-US" spc="-10" dirty="0">
                <a:solidFill>
                  <a:prstClr val="black"/>
                </a:solidFill>
                <a:cs typeface="Segoe UI Light"/>
              </a:rPr>
              <a:t>regression </a:t>
            </a:r>
            <a:r>
              <a:rPr lang="en-US" spc="5" dirty="0">
                <a:solidFill>
                  <a:prstClr val="black"/>
                </a:solidFill>
                <a:cs typeface="Segoe UI Light"/>
              </a:rPr>
              <a:t>to</a:t>
            </a:r>
            <a:r>
              <a:rPr lang="en-US" spc="-130" dirty="0">
                <a:solidFill>
                  <a:prstClr val="black"/>
                </a:solidFill>
                <a:cs typeface="Segoe UI Light"/>
              </a:rPr>
              <a:t> </a:t>
            </a:r>
            <a:r>
              <a:rPr lang="en-US" dirty="0">
                <a:solidFill>
                  <a:prstClr val="black"/>
                </a:solidFill>
                <a:cs typeface="Segoe UI Light"/>
              </a:rPr>
              <a:t>classification  is </a:t>
            </a:r>
            <a:r>
              <a:rPr lang="en-US" spc="-40" dirty="0">
                <a:solidFill>
                  <a:prstClr val="black"/>
                </a:solidFill>
                <a:cs typeface="Segoe UI Light"/>
              </a:rPr>
              <a:t>NOT </a:t>
            </a:r>
            <a:r>
              <a:rPr lang="en-US" dirty="0">
                <a:solidFill>
                  <a:prstClr val="black"/>
                </a:solidFill>
                <a:cs typeface="Segoe UI Light"/>
              </a:rPr>
              <a:t>a </a:t>
            </a:r>
            <a:r>
              <a:rPr lang="en-US" spc="5" dirty="0">
                <a:solidFill>
                  <a:prstClr val="black"/>
                </a:solidFill>
                <a:cs typeface="Segoe UI Light"/>
              </a:rPr>
              <a:t>good</a:t>
            </a:r>
            <a:r>
              <a:rPr lang="en-US" spc="-80" dirty="0">
                <a:solidFill>
                  <a:prstClr val="black"/>
                </a:solidFill>
                <a:cs typeface="Segoe UI Light"/>
              </a:rPr>
              <a:t> </a:t>
            </a:r>
            <a:r>
              <a:rPr lang="en-US" spc="5" dirty="0">
                <a:solidFill>
                  <a:prstClr val="black"/>
                </a:solidFill>
                <a:cs typeface="Segoe UI Light"/>
              </a:rPr>
              <a:t>idea.</a:t>
            </a:r>
            <a:endParaRPr lang="en-US" dirty="0">
              <a:solidFill>
                <a:prstClr val="black"/>
              </a:solidFill>
              <a:cs typeface="Segoe UI Light"/>
            </a:endParaRPr>
          </a:p>
          <a:p>
            <a:pPr defTabSz="912754"/>
            <a:endParaRPr lang="en-US" dirty="0">
              <a:solidFill>
                <a:prstClr val="black"/>
              </a:solidFill>
            </a:endParaRPr>
          </a:p>
        </p:txBody>
      </p:sp>
      <p:sp>
        <p:nvSpPr>
          <p:cNvPr id="116" name="TextBox 115"/>
          <p:cNvSpPr txBox="1"/>
          <p:nvPr/>
        </p:nvSpPr>
        <p:spPr>
          <a:xfrm>
            <a:off x="6840560" y="5919297"/>
            <a:ext cx="2343911" cy="369332"/>
          </a:xfrm>
          <a:prstGeom prst="rect">
            <a:avLst/>
          </a:prstGeom>
          <a:noFill/>
        </p:spPr>
        <p:txBody>
          <a:bodyPr wrap="none" rtlCol="0">
            <a:spAutoFit/>
          </a:bodyPr>
          <a:lstStyle/>
          <a:p>
            <a:pPr defTabSz="912754"/>
            <a:r>
              <a:rPr lang="en-US" dirty="0">
                <a:solidFill>
                  <a:prstClr val="black"/>
                </a:solidFill>
              </a:rPr>
              <a:t>What just happened?</a:t>
            </a:r>
          </a:p>
        </p:txBody>
      </p:sp>
      <p:sp>
        <p:nvSpPr>
          <p:cNvPr id="4" name="Slide Number Placeholder 3"/>
          <p:cNvSpPr>
            <a:spLocks noGrp="1"/>
          </p:cNvSpPr>
          <p:nvPr>
            <p:ph type="sldNum" sz="quarter" idx="12"/>
          </p:nvPr>
        </p:nvSpPr>
        <p:spPr/>
        <p:txBody>
          <a:bodyPr/>
          <a:lstStyle/>
          <a:p>
            <a:fld id="{3847DB54-D037-B84F-B6F1-2E8DA40D09AD}" type="slidenum">
              <a:rPr lang="en-US" smtClean="0"/>
              <a:pPr/>
              <a:t>36</a:t>
            </a:fld>
            <a:endParaRPr lang="en-US"/>
          </a:p>
        </p:txBody>
      </p:sp>
    </p:spTree>
    <p:extLst>
      <p:ext uri="{BB962C8B-B14F-4D97-AF65-F5344CB8AC3E}">
        <p14:creationId xmlns:p14="http://schemas.microsoft.com/office/powerpoint/2010/main" val="331812267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lassification (Continued…)</a:t>
            </a: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9" name="TextBox 8"/>
          <p:cNvSpPr txBox="1"/>
          <p:nvPr/>
        </p:nvSpPr>
        <p:spPr>
          <a:xfrm>
            <a:off x="2739212" y="2532698"/>
            <a:ext cx="184390" cy="368649"/>
          </a:xfrm>
          <a:prstGeom prst="rect">
            <a:avLst/>
          </a:prstGeom>
          <a:noFill/>
        </p:spPr>
        <p:txBody>
          <a:bodyPr wrap="none" rtlCol="0">
            <a:spAutoFit/>
          </a:bodyPr>
          <a:lstStyle/>
          <a:p>
            <a:pPr defTabSz="912754"/>
            <a:endParaRPr lang="en-US" dirty="0">
              <a:solidFill>
                <a:srgbClr val="000000"/>
              </a:solidFill>
              <a:latin typeface="Segoe UI Light" panose="020B0502040204020203" pitchFamily="34" charset="0"/>
              <a:cs typeface="Segoe UI Light" panose="020B0502040204020203" pitchFamily="34" charset="0"/>
            </a:endParaRPr>
          </a:p>
        </p:txBody>
      </p:sp>
      <p:sp>
        <p:nvSpPr>
          <p:cNvPr id="7" name="TextBox 6"/>
          <p:cNvSpPr txBox="1"/>
          <p:nvPr/>
        </p:nvSpPr>
        <p:spPr>
          <a:xfrm>
            <a:off x="1086604" y="1469941"/>
            <a:ext cx="3003579" cy="646331"/>
          </a:xfrm>
          <a:prstGeom prst="rect">
            <a:avLst/>
          </a:prstGeom>
          <a:noFill/>
        </p:spPr>
        <p:txBody>
          <a:bodyPr wrap="none" rtlCol="0">
            <a:spAutoFit/>
          </a:bodyPr>
          <a:lstStyle/>
          <a:p>
            <a:pPr defTabSz="912754"/>
            <a:r>
              <a:rPr lang="fr-FR" spc="-5" dirty="0">
                <a:solidFill>
                  <a:prstClr val="black"/>
                </a:solidFill>
                <a:latin typeface="Segoe UI Light" panose="020B0502040204020203" pitchFamily="34" charset="0"/>
                <a:cs typeface="Segoe UI Light" panose="020B0502040204020203" pitchFamily="34" charset="0"/>
              </a:rPr>
              <a:t>Cla</a:t>
            </a:r>
            <a:r>
              <a:rPr lang="fr-FR" spc="5" dirty="0">
                <a:solidFill>
                  <a:prstClr val="black"/>
                </a:solidFill>
                <a:latin typeface="Segoe UI Light" panose="020B0502040204020203" pitchFamily="34" charset="0"/>
                <a:cs typeface="Segoe UI Light" panose="020B0502040204020203" pitchFamily="34" charset="0"/>
              </a:rPr>
              <a:t>s</a:t>
            </a:r>
            <a:r>
              <a:rPr lang="fr-FR" spc="-5" dirty="0">
                <a:solidFill>
                  <a:prstClr val="black"/>
                </a:solidFill>
                <a:latin typeface="Segoe UI Light" panose="020B0502040204020203" pitchFamily="34" charset="0"/>
                <a:cs typeface="Segoe UI Light" panose="020B0502040204020203" pitchFamily="34" charset="0"/>
              </a:rPr>
              <a:t>si</a:t>
            </a:r>
            <a:r>
              <a:rPr lang="fr-FR" spc="10" dirty="0">
                <a:solidFill>
                  <a:prstClr val="black"/>
                </a:solidFill>
                <a:latin typeface="Segoe UI Light" panose="020B0502040204020203" pitchFamily="34" charset="0"/>
                <a:cs typeface="Segoe UI Light" panose="020B0502040204020203" pitchFamily="34" charset="0"/>
              </a:rPr>
              <a:t>f</a:t>
            </a:r>
            <a:r>
              <a:rPr lang="fr-FR" spc="-5" dirty="0">
                <a:solidFill>
                  <a:prstClr val="black"/>
                </a:solidFill>
                <a:latin typeface="Segoe UI Light" panose="020B0502040204020203" pitchFamily="34" charset="0"/>
                <a:cs typeface="Segoe UI Light" panose="020B0502040204020203" pitchFamily="34" charset="0"/>
              </a:rPr>
              <a:t>ic</a:t>
            </a:r>
            <a:r>
              <a:rPr lang="fr-FR" spc="5" dirty="0">
                <a:solidFill>
                  <a:prstClr val="black"/>
                </a:solidFill>
                <a:latin typeface="Segoe UI Light" panose="020B0502040204020203" pitchFamily="34" charset="0"/>
                <a:cs typeface="Segoe UI Light" panose="020B0502040204020203" pitchFamily="34" charset="0"/>
              </a:rPr>
              <a:t>a</a:t>
            </a:r>
            <a:r>
              <a:rPr lang="fr-FR" dirty="0">
                <a:solidFill>
                  <a:prstClr val="black"/>
                </a:solidFill>
                <a:latin typeface="Segoe UI Light" panose="020B0502040204020203" pitchFamily="34" charset="0"/>
                <a:cs typeface="Segoe UI Light" panose="020B0502040204020203" pitchFamily="34" charset="0"/>
              </a:rPr>
              <a:t>tion:	y = 0 </a:t>
            </a:r>
            <a:r>
              <a:rPr lang="fr-FR" spc="-5" dirty="0">
                <a:solidFill>
                  <a:prstClr val="black"/>
                </a:solidFill>
                <a:latin typeface="Segoe UI Light" panose="020B0502040204020203" pitchFamily="34" charset="0"/>
                <a:cs typeface="Segoe UI Light" panose="020B0502040204020203" pitchFamily="34" charset="0"/>
              </a:rPr>
              <a:t>o</a:t>
            </a:r>
            <a:r>
              <a:rPr lang="fr-FR" dirty="0">
                <a:solidFill>
                  <a:prstClr val="black"/>
                </a:solidFill>
                <a:latin typeface="Segoe UI Light" panose="020B0502040204020203" pitchFamily="34" charset="0"/>
                <a:cs typeface="Segoe UI Light" panose="020B0502040204020203" pitchFamily="34" charset="0"/>
              </a:rPr>
              <a:t>r </a:t>
            </a:r>
            <a:r>
              <a:rPr lang="fr-FR" spc="504" dirty="0">
                <a:solidFill>
                  <a:prstClr val="black"/>
                </a:solidFill>
                <a:latin typeface="Segoe UI Light" panose="020B0502040204020203" pitchFamily="34" charset="0"/>
                <a:cs typeface="Segoe UI Light" panose="020B0502040204020203" pitchFamily="34" charset="0"/>
              </a:rPr>
              <a:t>1</a:t>
            </a:r>
            <a:endParaRPr lang="fr-FR" dirty="0">
              <a:solidFill>
                <a:prstClr val="black"/>
              </a:solidFill>
              <a:latin typeface="Segoe UI Light" panose="020B0502040204020203" pitchFamily="34" charset="0"/>
              <a:cs typeface="Segoe UI Light" panose="020B0502040204020203" pitchFamily="34" charset="0"/>
            </a:endParaRPr>
          </a:p>
          <a:p>
            <a:pPr defTabSz="912754"/>
            <a:endParaRPr lang="en-US" dirty="0">
              <a:solidFill>
                <a:srgbClr val="000000"/>
              </a:solidFill>
              <a:latin typeface="Segoe UI Light" panose="020B0502040204020203" pitchFamily="34" charset="0"/>
              <a:cs typeface="Segoe UI Light" panose="020B0502040204020203" pitchFamily="34" charset="0"/>
            </a:endParaRPr>
          </a:p>
        </p:txBody>
      </p:sp>
      <p:pic>
        <p:nvPicPr>
          <p:cNvPr id="8" name="Picture 7"/>
          <p:cNvPicPr>
            <a:picLocks noChangeAspect="1"/>
          </p:cNvPicPr>
          <p:nvPr/>
        </p:nvPicPr>
        <p:blipFill rotWithShape="1">
          <a:blip r:embed="rId3"/>
          <a:srcRect r="54414"/>
          <a:stretch/>
        </p:blipFill>
        <p:spPr>
          <a:xfrm>
            <a:off x="556527" y="2266798"/>
            <a:ext cx="2357834" cy="687537"/>
          </a:xfrm>
          <a:prstGeom prst="rect">
            <a:avLst/>
          </a:prstGeom>
        </p:spPr>
      </p:pic>
      <p:sp>
        <p:nvSpPr>
          <p:cNvPr id="32" name="object 3"/>
          <p:cNvSpPr/>
          <p:nvPr/>
        </p:nvSpPr>
        <p:spPr>
          <a:xfrm>
            <a:off x="1502668" y="2283203"/>
            <a:ext cx="1306696" cy="588698"/>
          </a:xfrm>
          <a:prstGeom prst="rect">
            <a:avLst/>
          </a:prstGeom>
          <a:blipFill>
            <a:blip r:embed="rId4" cstate="print"/>
            <a:stretch>
              <a:fillRect/>
            </a:stretch>
          </a:blipFill>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33" name="object 5"/>
          <p:cNvSpPr/>
          <p:nvPr/>
        </p:nvSpPr>
        <p:spPr>
          <a:xfrm>
            <a:off x="4912416" y="3377636"/>
            <a:ext cx="3405929" cy="579571"/>
          </a:xfrm>
          <a:prstGeom prst="rect">
            <a:avLst/>
          </a:prstGeom>
          <a:blipFill>
            <a:blip r:embed="rId5" cstate="print"/>
            <a:stretch>
              <a:fillRect/>
            </a:stretch>
          </a:blipFill>
        </p:spPr>
        <p:txBody>
          <a:bodyPr wrap="square" lIns="0" tIns="0" rIns="0" bIns="0" rtlCol="0"/>
          <a:lstStyle/>
          <a:p>
            <a:pPr defTabSz="912754"/>
            <a:endParaRPr>
              <a:solidFill>
                <a:prstClr val="black"/>
              </a:solidFill>
              <a:latin typeface="Segoe UI Light" panose="020B0502040204020203" pitchFamily="34" charset="0"/>
              <a:cs typeface="Segoe UI Light" panose="020B0502040204020203" pitchFamily="34" charset="0"/>
            </a:endParaRPr>
          </a:p>
        </p:txBody>
      </p:sp>
      <p:sp>
        <p:nvSpPr>
          <p:cNvPr id="11" name="TextBox 10"/>
          <p:cNvSpPr txBox="1"/>
          <p:nvPr/>
        </p:nvSpPr>
        <p:spPr>
          <a:xfrm>
            <a:off x="1304200" y="3363311"/>
            <a:ext cx="2948884" cy="646331"/>
          </a:xfrm>
          <a:prstGeom prst="rect">
            <a:avLst/>
          </a:prstGeom>
          <a:noFill/>
        </p:spPr>
        <p:txBody>
          <a:bodyPr wrap="none" rtlCol="0">
            <a:spAutoFit/>
          </a:bodyPr>
          <a:lstStyle/>
          <a:p>
            <a:pPr defTabSz="912754"/>
            <a:r>
              <a:rPr lang="fr-FR" spc="-5" dirty="0" err="1">
                <a:solidFill>
                  <a:prstClr val="black"/>
                </a:solidFill>
                <a:latin typeface="Segoe UI Light" panose="020B0502040204020203" pitchFamily="34" charset="0"/>
                <a:cs typeface="Segoe UI Light" panose="020B0502040204020203" pitchFamily="34" charset="0"/>
              </a:rPr>
              <a:t>Logistic</a:t>
            </a:r>
            <a:r>
              <a:rPr lang="fr-FR" spc="-5" dirty="0">
                <a:solidFill>
                  <a:prstClr val="black"/>
                </a:solidFill>
                <a:latin typeface="Segoe UI Light" panose="020B0502040204020203" pitchFamily="34" charset="0"/>
                <a:cs typeface="Segoe UI Light" panose="020B0502040204020203" pitchFamily="34" charset="0"/>
              </a:rPr>
              <a:t> </a:t>
            </a:r>
            <a:r>
              <a:rPr lang="fr-FR" spc="-5" dirty="0" err="1">
                <a:solidFill>
                  <a:prstClr val="black"/>
                </a:solidFill>
                <a:latin typeface="Segoe UI Light" panose="020B0502040204020203" pitchFamily="34" charset="0"/>
                <a:cs typeface="Segoe UI Light" panose="020B0502040204020203" pitchFamily="34" charset="0"/>
              </a:rPr>
              <a:t>Regression</a:t>
            </a:r>
            <a:endParaRPr lang="fr-FR" spc="-5" dirty="0">
              <a:solidFill>
                <a:prstClr val="black"/>
              </a:solidFill>
              <a:latin typeface="Segoe UI Light" panose="020B0502040204020203" pitchFamily="34" charset="0"/>
              <a:cs typeface="Segoe UI Light" panose="020B0502040204020203" pitchFamily="34" charset="0"/>
            </a:endParaRPr>
          </a:p>
          <a:p>
            <a:pPr defTabSz="912754"/>
            <a:r>
              <a:rPr lang="fr-FR" spc="-5" dirty="0">
                <a:solidFill>
                  <a:prstClr val="black"/>
                </a:solidFill>
                <a:latin typeface="Segoe UI Light" panose="020B0502040204020203" pitchFamily="34" charset="0"/>
                <a:cs typeface="Segoe UI Light" panose="020B0502040204020203" pitchFamily="34" charset="0"/>
              </a:rPr>
              <a:t>Classification </a:t>
            </a:r>
            <a:r>
              <a:rPr lang="fr-FR" spc="-5" dirty="0" err="1">
                <a:solidFill>
                  <a:prstClr val="black"/>
                </a:solidFill>
                <a:latin typeface="Segoe UI Light" panose="020B0502040204020203" pitchFamily="34" charset="0"/>
                <a:cs typeface="Segoe UI Light" panose="020B0502040204020203" pitchFamily="34" charset="0"/>
              </a:rPr>
              <a:t>Algorithm</a:t>
            </a:r>
            <a:r>
              <a:rPr lang="fr-FR" dirty="0">
                <a:solidFill>
                  <a:prstClr val="black"/>
                </a:solidFill>
                <a:latin typeface="Segoe UI Light" panose="020B0502040204020203" pitchFamily="34" charset="0"/>
                <a:cs typeface="Segoe UI Light" panose="020B0502040204020203" pitchFamily="34" charset="0"/>
              </a:rPr>
              <a:t>	</a:t>
            </a:r>
          </a:p>
        </p:txBody>
      </p:sp>
      <p:sp>
        <p:nvSpPr>
          <p:cNvPr id="2" name="TextBox 1"/>
          <p:cNvSpPr txBox="1"/>
          <p:nvPr/>
        </p:nvSpPr>
        <p:spPr>
          <a:xfrm>
            <a:off x="6112630" y="4023609"/>
            <a:ext cx="2205715" cy="369332"/>
          </a:xfrm>
          <a:prstGeom prst="rect">
            <a:avLst/>
          </a:prstGeom>
          <a:noFill/>
        </p:spPr>
        <p:txBody>
          <a:bodyPr wrap="square" rtlCol="0">
            <a:spAutoFit/>
          </a:bodyPr>
          <a:lstStyle/>
          <a:p>
            <a:pPr defTabSz="912754"/>
            <a:r>
              <a:rPr lang="nl-NL" dirty="0">
                <a:solidFill>
                  <a:srgbClr val="000000"/>
                </a:solidFill>
                <a:latin typeface="Segoe UI Light" panose="020B0502040204020203" pitchFamily="34" charset="0"/>
                <a:cs typeface="Segoe UI Light" panose="020B0502040204020203" pitchFamily="34" charset="0"/>
              </a:rPr>
              <a:t>Y= 0 or 1</a:t>
            </a:r>
            <a:endParaRPr lang="en-US" dirty="0">
              <a:solidFill>
                <a:srgbClr val="000000"/>
              </a:solidFill>
              <a:latin typeface="Segoe UI Light" panose="020B0502040204020203" pitchFamily="34" charset="0"/>
              <a:cs typeface="Segoe UI Light" panose="020B0502040204020203" pitchFamily="34" charset="0"/>
            </a:endParaRPr>
          </a:p>
        </p:txBody>
      </p:sp>
      <p:sp>
        <p:nvSpPr>
          <p:cNvPr id="12" name="TextBox 11"/>
          <p:cNvSpPr txBox="1"/>
          <p:nvPr/>
        </p:nvSpPr>
        <p:spPr>
          <a:xfrm>
            <a:off x="2809364" y="2347146"/>
            <a:ext cx="1946046" cy="369332"/>
          </a:xfrm>
          <a:prstGeom prst="rect">
            <a:avLst/>
          </a:prstGeom>
          <a:noFill/>
        </p:spPr>
        <p:txBody>
          <a:bodyPr wrap="none" rtlCol="0">
            <a:spAutoFit/>
          </a:bodyPr>
          <a:lstStyle/>
          <a:p>
            <a:pPr defTabSz="912754"/>
            <a:r>
              <a:rPr lang="fr-FR" spc="-5" dirty="0">
                <a:solidFill>
                  <a:prstClr val="black"/>
                </a:solidFill>
                <a:latin typeface="Segoe UI Light" panose="020B0502040204020203" pitchFamily="34" charset="0"/>
                <a:cs typeface="Segoe UI Light" panose="020B0502040204020203" pitchFamily="34" charset="0"/>
              </a:rPr>
              <a:t>Can </a:t>
            </a:r>
            <a:r>
              <a:rPr lang="fr-FR" spc="-5" dirty="0" err="1">
                <a:solidFill>
                  <a:prstClr val="black"/>
                </a:solidFill>
                <a:latin typeface="Segoe UI Light" panose="020B0502040204020203" pitchFamily="34" charset="0"/>
                <a:cs typeface="Segoe UI Light" panose="020B0502040204020203" pitchFamily="34" charset="0"/>
              </a:rPr>
              <a:t>be</a:t>
            </a:r>
            <a:r>
              <a:rPr lang="fr-FR" spc="-5" dirty="0">
                <a:solidFill>
                  <a:prstClr val="black"/>
                </a:solidFill>
                <a:latin typeface="Segoe UI Light" panose="020B0502040204020203" pitchFamily="34" charset="0"/>
                <a:cs typeface="Segoe UI Light" panose="020B0502040204020203" pitchFamily="34" charset="0"/>
              </a:rPr>
              <a:t> &gt; 1 or &lt; 0 </a:t>
            </a:r>
            <a:endParaRPr lang="en-US" dirty="0">
              <a:solidFill>
                <a:srgbClr val="000000"/>
              </a:solidFill>
              <a:latin typeface="Segoe UI Light" panose="020B0502040204020203" pitchFamily="34" charset="0"/>
              <a:cs typeface="Segoe UI Light" panose="020B0502040204020203" pitchFamily="34" charset="0"/>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37</a:t>
            </a:fld>
            <a:endParaRPr lang="en-US"/>
          </a:p>
        </p:txBody>
      </p:sp>
    </p:spTree>
    <p:extLst>
      <p:ext uri="{BB962C8B-B14F-4D97-AF65-F5344CB8AC3E}">
        <p14:creationId xmlns:p14="http://schemas.microsoft.com/office/powerpoint/2010/main" val="399688646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800" dirty="0">
              <a:latin typeface="+mn-lt"/>
            </a:endParaRPr>
          </a:p>
          <a:p>
            <a:pPr marL="0" indent="0">
              <a:buNone/>
            </a:pPr>
            <a:endParaRPr lang="en-US" sz="1800" dirty="0">
              <a:latin typeface="+mn-lt"/>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Hypothesis Representation</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2" name="TextBox 1"/>
          <p:cNvSpPr txBox="1"/>
          <p:nvPr/>
        </p:nvSpPr>
        <p:spPr>
          <a:xfrm>
            <a:off x="1988806" y="1512798"/>
            <a:ext cx="7681974" cy="374846"/>
          </a:xfrm>
          <a:prstGeom prst="rect">
            <a:avLst/>
          </a:prstGeom>
          <a:noFill/>
        </p:spPr>
        <p:txBody>
          <a:bodyPr wrap="square" rtlCol="0">
            <a:spAutoFit/>
          </a:bodyPr>
          <a:lstStyle/>
          <a:p>
            <a:pPr marL="12677" marR="69637" defTabSz="912754">
              <a:lnSpc>
                <a:spcPct val="101725"/>
              </a:lnSpc>
              <a:spcBef>
                <a:spcPts val="656"/>
              </a:spcBef>
            </a:pPr>
            <a:r>
              <a:rPr lang="en-US" dirty="0">
                <a:solidFill>
                  <a:srgbClr val="000000"/>
                </a:solidFill>
                <a:cs typeface="Segoe UI Light"/>
              </a:rPr>
              <a:t>L</a:t>
            </a:r>
            <a:r>
              <a:rPr lang="en-US" spc="15" dirty="0">
                <a:solidFill>
                  <a:srgbClr val="000000"/>
                </a:solidFill>
                <a:cs typeface="Segoe UI Light"/>
              </a:rPr>
              <a:t>og</a:t>
            </a:r>
            <a:r>
              <a:rPr lang="en-US" spc="-5" dirty="0">
                <a:solidFill>
                  <a:srgbClr val="000000"/>
                </a:solidFill>
                <a:cs typeface="Segoe UI Light"/>
              </a:rPr>
              <a:t>isti</a:t>
            </a:r>
            <a:r>
              <a:rPr lang="en-US" dirty="0">
                <a:solidFill>
                  <a:srgbClr val="000000"/>
                </a:solidFill>
                <a:cs typeface="Segoe UI Light"/>
              </a:rPr>
              <a:t>c</a:t>
            </a:r>
            <a:r>
              <a:rPr lang="en-US" spc="-30" dirty="0">
                <a:solidFill>
                  <a:srgbClr val="000000"/>
                </a:solidFill>
                <a:cs typeface="Segoe UI Light"/>
              </a:rPr>
              <a:t> </a:t>
            </a:r>
            <a:r>
              <a:rPr lang="en-US" spc="5" dirty="0">
                <a:solidFill>
                  <a:srgbClr val="000000"/>
                </a:solidFill>
                <a:cs typeface="Segoe UI Light"/>
              </a:rPr>
              <a:t>R</a:t>
            </a:r>
            <a:r>
              <a:rPr lang="en-US" spc="10" dirty="0">
                <a:solidFill>
                  <a:srgbClr val="000000"/>
                </a:solidFill>
                <a:cs typeface="Segoe UI Light"/>
              </a:rPr>
              <a:t>e</a:t>
            </a:r>
            <a:r>
              <a:rPr lang="en-US" spc="15" dirty="0">
                <a:solidFill>
                  <a:srgbClr val="000000"/>
                </a:solidFill>
                <a:cs typeface="Segoe UI Light"/>
              </a:rPr>
              <a:t>g</a:t>
            </a:r>
            <a:r>
              <a:rPr lang="en-US" spc="-65" dirty="0">
                <a:solidFill>
                  <a:srgbClr val="000000"/>
                </a:solidFill>
                <a:cs typeface="Segoe UI Light"/>
              </a:rPr>
              <a:t>r</a:t>
            </a:r>
            <a:r>
              <a:rPr lang="en-US" spc="-10" dirty="0">
                <a:solidFill>
                  <a:srgbClr val="000000"/>
                </a:solidFill>
                <a:cs typeface="Segoe UI Light"/>
              </a:rPr>
              <a:t>e</a:t>
            </a:r>
            <a:r>
              <a:rPr lang="en-US" spc="-5" dirty="0">
                <a:solidFill>
                  <a:srgbClr val="000000"/>
                </a:solidFill>
                <a:cs typeface="Segoe UI Light"/>
              </a:rPr>
              <a:t>s</a:t>
            </a:r>
            <a:r>
              <a:rPr lang="en-US" spc="15" dirty="0">
                <a:solidFill>
                  <a:srgbClr val="000000"/>
                </a:solidFill>
                <a:cs typeface="Segoe UI Light"/>
              </a:rPr>
              <a:t>s</a:t>
            </a:r>
            <a:r>
              <a:rPr lang="en-US" spc="-5" dirty="0">
                <a:solidFill>
                  <a:srgbClr val="000000"/>
                </a:solidFill>
                <a:cs typeface="Segoe UI Light"/>
              </a:rPr>
              <a:t>io</a:t>
            </a:r>
            <a:r>
              <a:rPr lang="en-US" dirty="0">
                <a:solidFill>
                  <a:srgbClr val="000000"/>
                </a:solidFill>
                <a:cs typeface="Segoe UI Light"/>
              </a:rPr>
              <a:t>n</a:t>
            </a:r>
            <a:r>
              <a:rPr lang="en-US" spc="-45" dirty="0">
                <a:solidFill>
                  <a:srgbClr val="000000"/>
                </a:solidFill>
                <a:cs typeface="Segoe UI Light"/>
              </a:rPr>
              <a:t> </a:t>
            </a:r>
            <a:r>
              <a:rPr lang="en-US" dirty="0">
                <a:solidFill>
                  <a:srgbClr val="000000"/>
                </a:solidFill>
                <a:cs typeface="Segoe UI Light"/>
              </a:rPr>
              <a:t>M</a:t>
            </a:r>
            <a:r>
              <a:rPr lang="en-US" spc="15" dirty="0">
                <a:solidFill>
                  <a:srgbClr val="000000"/>
                </a:solidFill>
                <a:cs typeface="Segoe UI Light"/>
              </a:rPr>
              <a:t>od</a:t>
            </a:r>
            <a:r>
              <a:rPr lang="en-US" dirty="0">
                <a:solidFill>
                  <a:srgbClr val="000000"/>
                </a:solidFill>
                <a:cs typeface="Segoe UI Light"/>
              </a:rPr>
              <a:t>el wants</a:t>
            </a:r>
            <a:endParaRPr lang="en-US" dirty="0">
              <a:solidFill>
                <a:srgbClr val="000000"/>
              </a:solidFill>
              <a:cs typeface="Calibri"/>
            </a:endParaRPr>
          </a:p>
        </p:txBody>
      </p:sp>
      <p:sp>
        <p:nvSpPr>
          <p:cNvPr id="6" name="object 4"/>
          <p:cNvSpPr/>
          <p:nvPr/>
        </p:nvSpPr>
        <p:spPr>
          <a:xfrm>
            <a:off x="6240278" y="1557244"/>
            <a:ext cx="2397384" cy="407677"/>
          </a:xfrm>
          <a:prstGeom prst="rect">
            <a:avLst/>
          </a:prstGeom>
          <a:blipFill>
            <a:blip r:embed="rId3" cstate="print"/>
            <a:stretch>
              <a:fillRect/>
            </a:stretch>
          </a:blipFill>
        </p:spPr>
        <p:txBody>
          <a:bodyPr wrap="square" lIns="0" tIns="0" rIns="0" bIns="0" rtlCol="0"/>
          <a:lstStyle/>
          <a:p>
            <a:pPr defTabSz="912754"/>
            <a:endParaRPr>
              <a:solidFill>
                <a:srgbClr val="000000"/>
              </a:solidFill>
            </a:endParaRPr>
          </a:p>
        </p:txBody>
      </p:sp>
      <p:sp>
        <p:nvSpPr>
          <p:cNvPr id="9" name="TextBox 8"/>
          <p:cNvSpPr txBox="1"/>
          <p:nvPr/>
        </p:nvSpPr>
        <p:spPr>
          <a:xfrm>
            <a:off x="4019372" y="2888298"/>
            <a:ext cx="184390" cy="368649"/>
          </a:xfrm>
          <a:prstGeom prst="rect">
            <a:avLst/>
          </a:prstGeom>
          <a:noFill/>
        </p:spPr>
        <p:txBody>
          <a:bodyPr wrap="none" rtlCol="0">
            <a:spAutoFit/>
          </a:bodyPr>
          <a:lstStyle/>
          <a:p>
            <a:pPr defTabSz="912754"/>
            <a:endParaRPr lang="en-US" dirty="0">
              <a:solidFill>
                <a:srgbClr val="000000"/>
              </a:solidFill>
            </a:endParaRPr>
          </a:p>
        </p:txBody>
      </p:sp>
      <p:sp>
        <p:nvSpPr>
          <p:cNvPr id="13" name="object 13"/>
          <p:cNvSpPr/>
          <p:nvPr/>
        </p:nvSpPr>
        <p:spPr>
          <a:xfrm>
            <a:off x="2269724" y="3011973"/>
            <a:ext cx="3157976" cy="1022235"/>
          </a:xfrm>
          <a:prstGeom prst="rect">
            <a:avLst/>
          </a:prstGeom>
          <a:blipFill>
            <a:blip r:embed="rId4" cstate="print"/>
            <a:stretch>
              <a:fillRect/>
            </a:stretch>
          </a:blipFill>
        </p:spPr>
        <p:txBody>
          <a:bodyPr wrap="square" lIns="0" tIns="0" rIns="0" bIns="0" rtlCol="0"/>
          <a:lstStyle/>
          <a:p>
            <a:pPr defTabSz="912754"/>
            <a:endParaRPr>
              <a:solidFill>
                <a:prstClr val="black"/>
              </a:solidFill>
            </a:endParaRPr>
          </a:p>
        </p:txBody>
      </p:sp>
      <p:sp>
        <p:nvSpPr>
          <p:cNvPr id="14" name="object 15"/>
          <p:cNvSpPr/>
          <p:nvPr/>
        </p:nvSpPr>
        <p:spPr>
          <a:xfrm>
            <a:off x="6534805" y="2171956"/>
            <a:ext cx="642066" cy="1801334"/>
          </a:xfrm>
          <a:custGeom>
            <a:avLst/>
            <a:gdLst/>
            <a:ahLst/>
            <a:cxnLst/>
            <a:rect l="l" t="t" r="r" b="b"/>
            <a:pathLst>
              <a:path w="643254" h="1804670">
                <a:moveTo>
                  <a:pt x="0" y="0"/>
                </a:moveTo>
                <a:lnTo>
                  <a:pt x="73716" y="1415"/>
                </a:lnTo>
                <a:lnTo>
                  <a:pt x="141394" y="5448"/>
                </a:lnTo>
                <a:lnTo>
                  <a:pt x="201101" y="11776"/>
                </a:lnTo>
                <a:lnTo>
                  <a:pt x="250904" y="20077"/>
                </a:lnTo>
                <a:lnTo>
                  <a:pt x="288871" y="30028"/>
                </a:lnTo>
                <a:lnTo>
                  <a:pt x="321563" y="53593"/>
                </a:lnTo>
                <a:lnTo>
                  <a:pt x="321563" y="848613"/>
                </a:lnTo>
                <a:lnTo>
                  <a:pt x="330059" y="860900"/>
                </a:lnTo>
                <a:lnTo>
                  <a:pt x="392223" y="882130"/>
                </a:lnTo>
                <a:lnTo>
                  <a:pt x="442026" y="890431"/>
                </a:lnTo>
                <a:lnTo>
                  <a:pt x="501733" y="896759"/>
                </a:lnTo>
                <a:lnTo>
                  <a:pt x="569411" y="900792"/>
                </a:lnTo>
                <a:lnTo>
                  <a:pt x="643127" y="902207"/>
                </a:lnTo>
                <a:lnTo>
                  <a:pt x="569411" y="903623"/>
                </a:lnTo>
                <a:lnTo>
                  <a:pt x="501733" y="907656"/>
                </a:lnTo>
                <a:lnTo>
                  <a:pt x="442026" y="913984"/>
                </a:lnTo>
                <a:lnTo>
                  <a:pt x="392223" y="922285"/>
                </a:lnTo>
                <a:lnTo>
                  <a:pt x="354256" y="932236"/>
                </a:lnTo>
                <a:lnTo>
                  <a:pt x="321563" y="955801"/>
                </a:lnTo>
                <a:lnTo>
                  <a:pt x="321563" y="1750821"/>
                </a:lnTo>
                <a:lnTo>
                  <a:pt x="313068" y="1763108"/>
                </a:lnTo>
                <a:lnTo>
                  <a:pt x="250904" y="1784338"/>
                </a:lnTo>
                <a:lnTo>
                  <a:pt x="201101" y="1792639"/>
                </a:lnTo>
                <a:lnTo>
                  <a:pt x="141394" y="1798967"/>
                </a:lnTo>
                <a:lnTo>
                  <a:pt x="73716" y="1803000"/>
                </a:lnTo>
                <a:lnTo>
                  <a:pt x="0" y="1804415"/>
                </a:lnTo>
              </a:path>
            </a:pathLst>
          </a:custGeom>
          <a:ln w="9144">
            <a:solidFill>
              <a:srgbClr val="009EDA"/>
            </a:solidFill>
          </a:ln>
        </p:spPr>
        <p:txBody>
          <a:bodyPr wrap="square" lIns="0" tIns="0" rIns="0" bIns="0" rtlCol="0"/>
          <a:lstStyle/>
          <a:p>
            <a:pPr defTabSz="912754"/>
            <a:endParaRPr>
              <a:solidFill>
                <a:prstClr val="black"/>
              </a:solidFill>
            </a:endParaRPr>
          </a:p>
        </p:txBody>
      </p:sp>
      <p:sp>
        <p:nvSpPr>
          <p:cNvPr id="15" name="object 12"/>
          <p:cNvSpPr/>
          <p:nvPr/>
        </p:nvSpPr>
        <p:spPr>
          <a:xfrm>
            <a:off x="7453678" y="2603076"/>
            <a:ext cx="2143347" cy="570444"/>
          </a:xfrm>
          <a:prstGeom prst="rect">
            <a:avLst/>
          </a:prstGeom>
          <a:blipFill>
            <a:blip r:embed="rId5" cstate="print"/>
            <a:stretch>
              <a:fillRect/>
            </a:stretch>
          </a:blipFill>
        </p:spPr>
        <p:txBody>
          <a:bodyPr wrap="square" lIns="0" tIns="0" rIns="0" bIns="0" rtlCol="0"/>
          <a:lstStyle/>
          <a:p>
            <a:pPr defTabSz="912754"/>
            <a:endParaRPr>
              <a:solidFill>
                <a:srgbClr val="000000"/>
              </a:solidFill>
            </a:endParaRPr>
          </a:p>
        </p:txBody>
      </p:sp>
      <p:sp>
        <p:nvSpPr>
          <p:cNvPr id="16" name="object 5"/>
          <p:cNvSpPr/>
          <p:nvPr/>
        </p:nvSpPr>
        <p:spPr>
          <a:xfrm>
            <a:off x="7681412" y="3720683"/>
            <a:ext cx="228177" cy="2454175"/>
          </a:xfrm>
          <a:custGeom>
            <a:avLst/>
            <a:gdLst/>
            <a:ahLst/>
            <a:cxnLst/>
            <a:rect l="l" t="t" r="r" b="b"/>
            <a:pathLst>
              <a:path w="228600" h="2458720">
                <a:moveTo>
                  <a:pt x="114220" y="59436"/>
                </a:moveTo>
                <a:lnTo>
                  <a:pt x="95170" y="82296"/>
                </a:lnTo>
                <a:lnTo>
                  <a:pt x="95170" y="2458466"/>
                </a:lnTo>
                <a:lnTo>
                  <a:pt x="133270" y="2458466"/>
                </a:lnTo>
                <a:lnTo>
                  <a:pt x="133270" y="82296"/>
                </a:lnTo>
                <a:lnTo>
                  <a:pt x="114220" y="59436"/>
                </a:lnTo>
                <a:close/>
              </a:path>
              <a:path w="228600" h="2458720">
                <a:moveTo>
                  <a:pt x="114220" y="0"/>
                </a:moveTo>
                <a:lnTo>
                  <a:pt x="4365" y="131825"/>
                </a:lnTo>
                <a:lnTo>
                  <a:pt x="760" y="138495"/>
                </a:lnTo>
                <a:lnTo>
                  <a:pt x="0" y="145748"/>
                </a:lnTo>
                <a:lnTo>
                  <a:pt x="2026" y="152739"/>
                </a:lnTo>
                <a:lnTo>
                  <a:pt x="6778" y="158623"/>
                </a:lnTo>
                <a:lnTo>
                  <a:pt x="13448" y="162228"/>
                </a:lnTo>
                <a:lnTo>
                  <a:pt x="20700" y="162988"/>
                </a:lnTo>
                <a:lnTo>
                  <a:pt x="27691" y="160962"/>
                </a:lnTo>
                <a:lnTo>
                  <a:pt x="33575" y="156210"/>
                </a:lnTo>
                <a:lnTo>
                  <a:pt x="95170" y="82295"/>
                </a:lnTo>
                <a:lnTo>
                  <a:pt x="95170" y="29718"/>
                </a:lnTo>
                <a:lnTo>
                  <a:pt x="138985" y="29718"/>
                </a:lnTo>
                <a:lnTo>
                  <a:pt x="114220" y="0"/>
                </a:lnTo>
                <a:close/>
              </a:path>
              <a:path w="228600" h="2458720">
                <a:moveTo>
                  <a:pt x="138985" y="29718"/>
                </a:moveTo>
                <a:lnTo>
                  <a:pt x="133270" y="29718"/>
                </a:lnTo>
                <a:lnTo>
                  <a:pt x="133270" y="82296"/>
                </a:lnTo>
                <a:lnTo>
                  <a:pt x="194865" y="156210"/>
                </a:lnTo>
                <a:lnTo>
                  <a:pt x="200749" y="160962"/>
                </a:lnTo>
                <a:lnTo>
                  <a:pt x="207740" y="162988"/>
                </a:lnTo>
                <a:lnTo>
                  <a:pt x="214993" y="162228"/>
                </a:lnTo>
                <a:lnTo>
                  <a:pt x="221662" y="158623"/>
                </a:lnTo>
                <a:lnTo>
                  <a:pt x="226415" y="152739"/>
                </a:lnTo>
                <a:lnTo>
                  <a:pt x="228441" y="145748"/>
                </a:lnTo>
                <a:lnTo>
                  <a:pt x="227681" y="138495"/>
                </a:lnTo>
                <a:lnTo>
                  <a:pt x="224075" y="131825"/>
                </a:lnTo>
                <a:lnTo>
                  <a:pt x="138985" y="29718"/>
                </a:lnTo>
                <a:close/>
              </a:path>
              <a:path w="228600" h="2458720">
                <a:moveTo>
                  <a:pt x="133270" y="29718"/>
                </a:moveTo>
                <a:lnTo>
                  <a:pt x="95170" y="29718"/>
                </a:lnTo>
                <a:lnTo>
                  <a:pt x="95170" y="82296"/>
                </a:lnTo>
                <a:lnTo>
                  <a:pt x="114220" y="59436"/>
                </a:lnTo>
                <a:lnTo>
                  <a:pt x="99615" y="41910"/>
                </a:lnTo>
                <a:lnTo>
                  <a:pt x="133270" y="41910"/>
                </a:lnTo>
                <a:lnTo>
                  <a:pt x="133270" y="29718"/>
                </a:lnTo>
                <a:close/>
              </a:path>
              <a:path w="228600" h="2458720">
                <a:moveTo>
                  <a:pt x="133270" y="41910"/>
                </a:moveTo>
                <a:lnTo>
                  <a:pt x="128825" y="41910"/>
                </a:lnTo>
                <a:lnTo>
                  <a:pt x="114220" y="59436"/>
                </a:lnTo>
                <a:lnTo>
                  <a:pt x="133270" y="82296"/>
                </a:lnTo>
                <a:lnTo>
                  <a:pt x="133270" y="41910"/>
                </a:lnTo>
                <a:close/>
              </a:path>
              <a:path w="228600" h="2458720">
                <a:moveTo>
                  <a:pt x="128825" y="41910"/>
                </a:moveTo>
                <a:lnTo>
                  <a:pt x="99615" y="41910"/>
                </a:lnTo>
                <a:lnTo>
                  <a:pt x="114220" y="59436"/>
                </a:lnTo>
                <a:lnTo>
                  <a:pt x="128825" y="41910"/>
                </a:lnTo>
                <a:close/>
              </a:path>
            </a:pathLst>
          </a:custGeom>
          <a:solidFill>
            <a:srgbClr val="000000"/>
          </a:solidFill>
        </p:spPr>
        <p:txBody>
          <a:bodyPr wrap="square" lIns="0" tIns="0" rIns="0" bIns="0" rtlCol="0"/>
          <a:lstStyle/>
          <a:p>
            <a:pPr defTabSz="912754"/>
            <a:endParaRPr>
              <a:solidFill>
                <a:prstClr val="black"/>
              </a:solidFill>
            </a:endParaRPr>
          </a:p>
        </p:txBody>
      </p:sp>
      <p:sp>
        <p:nvSpPr>
          <p:cNvPr id="17" name="object 6"/>
          <p:cNvSpPr/>
          <p:nvPr/>
        </p:nvSpPr>
        <p:spPr>
          <a:xfrm>
            <a:off x="5394996" y="6060342"/>
            <a:ext cx="5037017" cy="228177"/>
          </a:xfrm>
          <a:custGeom>
            <a:avLst/>
            <a:gdLst/>
            <a:ahLst/>
            <a:cxnLst/>
            <a:rect l="l" t="t" r="r" b="b"/>
            <a:pathLst>
              <a:path w="5046345" h="228600">
                <a:moveTo>
                  <a:pt x="4986525" y="114218"/>
                </a:moveTo>
                <a:lnTo>
                  <a:pt x="4889753" y="194840"/>
                </a:lnTo>
                <a:lnTo>
                  <a:pt x="4884981" y="200735"/>
                </a:lnTo>
                <a:lnTo>
                  <a:pt x="4882911" y="207746"/>
                </a:lnTo>
                <a:lnTo>
                  <a:pt x="4883628" y="215010"/>
                </a:lnTo>
                <a:lnTo>
                  <a:pt x="4887214" y="221662"/>
                </a:lnTo>
                <a:lnTo>
                  <a:pt x="4893117" y="226404"/>
                </a:lnTo>
                <a:lnTo>
                  <a:pt x="4900152" y="228444"/>
                </a:lnTo>
                <a:lnTo>
                  <a:pt x="4907448" y="227702"/>
                </a:lnTo>
                <a:lnTo>
                  <a:pt x="4914138" y="224101"/>
                </a:lnTo>
                <a:lnTo>
                  <a:pt x="5023109" y="133270"/>
                </a:lnTo>
                <a:lnTo>
                  <a:pt x="5016245" y="133270"/>
                </a:lnTo>
                <a:lnTo>
                  <a:pt x="5016245" y="128825"/>
                </a:lnTo>
                <a:lnTo>
                  <a:pt x="5004053" y="128825"/>
                </a:lnTo>
                <a:lnTo>
                  <a:pt x="4986525" y="114218"/>
                </a:lnTo>
                <a:close/>
              </a:path>
              <a:path w="5046345" h="228600">
                <a:moveTo>
                  <a:pt x="4963668" y="95170"/>
                </a:moveTo>
                <a:lnTo>
                  <a:pt x="0" y="95170"/>
                </a:lnTo>
                <a:lnTo>
                  <a:pt x="0" y="133270"/>
                </a:lnTo>
                <a:lnTo>
                  <a:pt x="4963657" y="133270"/>
                </a:lnTo>
                <a:lnTo>
                  <a:pt x="4986525" y="114218"/>
                </a:lnTo>
                <a:lnTo>
                  <a:pt x="4963668" y="95170"/>
                </a:lnTo>
                <a:close/>
              </a:path>
              <a:path w="5046345" h="228600">
                <a:moveTo>
                  <a:pt x="5023104" y="95170"/>
                </a:moveTo>
                <a:lnTo>
                  <a:pt x="5016245" y="95170"/>
                </a:lnTo>
                <a:lnTo>
                  <a:pt x="5016245" y="133270"/>
                </a:lnTo>
                <a:lnTo>
                  <a:pt x="5023109" y="133270"/>
                </a:lnTo>
                <a:lnTo>
                  <a:pt x="5045964" y="114220"/>
                </a:lnTo>
                <a:lnTo>
                  <a:pt x="5023104" y="95170"/>
                </a:lnTo>
                <a:close/>
              </a:path>
              <a:path w="5046345" h="228600">
                <a:moveTo>
                  <a:pt x="5004053" y="99615"/>
                </a:moveTo>
                <a:lnTo>
                  <a:pt x="4986525" y="114218"/>
                </a:lnTo>
                <a:lnTo>
                  <a:pt x="5004053" y="128825"/>
                </a:lnTo>
                <a:lnTo>
                  <a:pt x="5004053" y="99615"/>
                </a:lnTo>
                <a:close/>
              </a:path>
              <a:path w="5046345" h="228600">
                <a:moveTo>
                  <a:pt x="5016245" y="99615"/>
                </a:moveTo>
                <a:lnTo>
                  <a:pt x="5004053" y="99615"/>
                </a:lnTo>
                <a:lnTo>
                  <a:pt x="5004053" y="128825"/>
                </a:lnTo>
                <a:lnTo>
                  <a:pt x="5016245" y="128825"/>
                </a:lnTo>
                <a:lnTo>
                  <a:pt x="5016245" y="99615"/>
                </a:lnTo>
                <a:close/>
              </a:path>
              <a:path w="5046345" h="228600">
                <a:moveTo>
                  <a:pt x="4900152" y="0"/>
                </a:moveTo>
                <a:lnTo>
                  <a:pt x="4893117" y="2026"/>
                </a:lnTo>
                <a:lnTo>
                  <a:pt x="4887214" y="6778"/>
                </a:lnTo>
                <a:lnTo>
                  <a:pt x="4883628" y="13448"/>
                </a:lnTo>
                <a:lnTo>
                  <a:pt x="4882911" y="20700"/>
                </a:lnTo>
                <a:lnTo>
                  <a:pt x="4884981" y="27691"/>
                </a:lnTo>
                <a:lnTo>
                  <a:pt x="4889753" y="33575"/>
                </a:lnTo>
                <a:lnTo>
                  <a:pt x="4986525" y="114218"/>
                </a:lnTo>
                <a:lnTo>
                  <a:pt x="5004053" y="99615"/>
                </a:lnTo>
                <a:lnTo>
                  <a:pt x="5016245" y="99615"/>
                </a:lnTo>
                <a:lnTo>
                  <a:pt x="5016245" y="95170"/>
                </a:lnTo>
                <a:lnTo>
                  <a:pt x="5023104" y="95170"/>
                </a:lnTo>
                <a:lnTo>
                  <a:pt x="4914138" y="4365"/>
                </a:lnTo>
                <a:lnTo>
                  <a:pt x="4907448" y="760"/>
                </a:lnTo>
                <a:lnTo>
                  <a:pt x="4900152" y="0"/>
                </a:lnTo>
                <a:close/>
              </a:path>
            </a:pathLst>
          </a:custGeom>
          <a:solidFill>
            <a:srgbClr val="000000"/>
          </a:solidFill>
        </p:spPr>
        <p:txBody>
          <a:bodyPr wrap="square" lIns="0" tIns="0" rIns="0" bIns="0" rtlCol="0"/>
          <a:lstStyle/>
          <a:p>
            <a:pPr defTabSz="912754"/>
            <a:endParaRPr>
              <a:solidFill>
                <a:prstClr val="black"/>
              </a:solidFill>
            </a:endParaRPr>
          </a:p>
        </p:txBody>
      </p:sp>
      <p:sp>
        <p:nvSpPr>
          <p:cNvPr id="18" name="object 7"/>
          <p:cNvSpPr/>
          <p:nvPr/>
        </p:nvSpPr>
        <p:spPr>
          <a:xfrm>
            <a:off x="7655472" y="4201377"/>
            <a:ext cx="304237" cy="0"/>
          </a:xfrm>
          <a:custGeom>
            <a:avLst/>
            <a:gdLst/>
            <a:ahLst/>
            <a:cxnLst/>
            <a:rect l="l" t="t" r="r" b="b"/>
            <a:pathLst>
              <a:path w="304800">
                <a:moveTo>
                  <a:pt x="0" y="0"/>
                </a:moveTo>
                <a:lnTo>
                  <a:pt x="304800" y="0"/>
                </a:lnTo>
              </a:path>
            </a:pathLst>
          </a:custGeom>
          <a:ln w="32004">
            <a:solidFill>
              <a:srgbClr val="0D0D0D"/>
            </a:solidFill>
          </a:ln>
        </p:spPr>
        <p:txBody>
          <a:bodyPr wrap="square" lIns="0" tIns="0" rIns="0" bIns="0" rtlCol="0"/>
          <a:lstStyle/>
          <a:p>
            <a:pPr defTabSz="912754"/>
            <a:endParaRPr>
              <a:solidFill>
                <a:prstClr val="black"/>
              </a:solidFill>
            </a:endParaRPr>
          </a:p>
        </p:txBody>
      </p:sp>
      <p:sp>
        <p:nvSpPr>
          <p:cNvPr id="19" name="object 8"/>
          <p:cNvSpPr txBox="1"/>
          <p:nvPr/>
        </p:nvSpPr>
        <p:spPr>
          <a:xfrm>
            <a:off x="7366954" y="3981313"/>
            <a:ext cx="182542" cy="276999"/>
          </a:xfrm>
          <a:prstGeom prst="rect">
            <a:avLst/>
          </a:prstGeom>
        </p:spPr>
        <p:txBody>
          <a:bodyPr vert="horz" wrap="square" lIns="0" tIns="0" rIns="0" bIns="0" rtlCol="0">
            <a:spAutoFit/>
          </a:bodyPr>
          <a:lstStyle/>
          <a:p>
            <a:pPr marL="12677" defTabSz="912754"/>
            <a:r>
              <a:rPr spc="379" dirty="0">
                <a:solidFill>
                  <a:prstClr val="black"/>
                </a:solidFill>
                <a:cs typeface="Segoe UI Light"/>
              </a:rPr>
              <a:t>1</a:t>
            </a:r>
            <a:endParaRPr>
              <a:solidFill>
                <a:prstClr val="black"/>
              </a:solidFill>
              <a:cs typeface="Segoe UI Light"/>
            </a:endParaRPr>
          </a:p>
        </p:txBody>
      </p:sp>
      <p:sp>
        <p:nvSpPr>
          <p:cNvPr id="20" name="object 9"/>
          <p:cNvSpPr/>
          <p:nvPr/>
        </p:nvSpPr>
        <p:spPr>
          <a:xfrm>
            <a:off x="7655472" y="5231218"/>
            <a:ext cx="304237" cy="0"/>
          </a:xfrm>
          <a:custGeom>
            <a:avLst/>
            <a:gdLst/>
            <a:ahLst/>
            <a:cxnLst/>
            <a:rect l="l" t="t" r="r" b="b"/>
            <a:pathLst>
              <a:path w="304800">
                <a:moveTo>
                  <a:pt x="0" y="0"/>
                </a:moveTo>
                <a:lnTo>
                  <a:pt x="304800" y="0"/>
                </a:lnTo>
              </a:path>
            </a:pathLst>
          </a:custGeom>
          <a:ln w="32004">
            <a:solidFill>
              <a:srgbClr val="0D0D0D"/>
            </a:solidFill>
          </a:ln>
        </p:spPr>
        <p:txBody>
          <a:bodyPr wrap="square" lIns="0" tIns="0" rIns="0" bIns="0" rtlCol="0"/>
          <a:lstStyle/>
          <a:p>
            <a:pPr defTabSz="912754"/>
            <a:endParaRPr>
              <a:solidFill>
                <a:prstClr val="black"/>
              </a:solidFill>
            </a:endParaRPr>
          </a:p>
        </p:txBody>
      </p:sp>
      <p:sp>
        <p:nvSpPr>
          <p:cNvPr id="21" name="object 10"/>
          <p:cNvSpPr txBox="1"/>
          <p:nvPr/>
        </p:nvSpPr>
        <p:spPr>
          <a:xfrm>
            <a:off x="7164130" y="5011408"/>
            <a:ext cx="406916" cy="276999"/>
          </a:xfrm>
          <a:prstGeom prst="rect">
            <a:avLst/>
          </a:prstGeom>
        </p:spPr>
        <p:txBody>
          <a:bodyPr vert="horz" wrap="square" lIns="0" tIns="0" rIns="0" bIns="0" rtlCol="0">
            <a:spAutoFit/>
          </a:bodyPr>
          <a:lstStyle/>
          <a:p>
            <a:pPr marL="12677" defTabSz="912754"/>
            <a:r>
              <a:rPr spc="-5" dirty="0">
                <a:solidFill>
                  <a:prstClr val="black"/>
                </a:solidFill>
                <a:cs typeface="Segoe UI Light"/>
              </a:rPr>
              <a:t>0.5</a:t>
            </a:r>
            <a:endParaRPr>
              <a:solidFill>
                <a:prstClr val="black"/>
              </a:solidFill>
              <a:cs typeface="Segoe UI Light"/>
            </a:endParaRPr>
          </a:p>
        </p:txBody>
      </p:sp>
      <p:sp>
        <p:nvSpPr>
          <p:cNvPr id="22" name="object 11"/>
          <p:cNvSpPr txBox="1"/>
          <p:nvPr/>
        </p:nvSpPr>
        <p:spPr>
          <a:xfrm>
            <a:off x="7664600" y="6124913"/>
            <a:ext cx="182542" cy="276999"/>
          </a:xfrm>
          <a:prstGeom prst="rect">
            <a:avLst/>
          </a:prstGeom>
        </p:spPr>
        <p:txBody>
          <a:bodyPr vert="horz" wrap="square" lIns="0" tIns="0" rIns="0" bIns="0" rtlCol="0">
            <a:spAutoFit/>
          </a:bodyPr>
          <a:lstStyle/>
          <a:p>
            <a:pPr marL="12677" defTabSz="912754"/>
            <a:r>
              <a:rPr dirty="0">
                <a:solidFill>
                  <a:prstClr val="black"/>
                </a:solidFill>
                <a:cs typeface="Segoe UI Light"/>
              </a:rPr>
              <a:t>0</a:t>
            </a:r>
            <a:endParaRPr>
              <a:solidFill>
                <a:prstClr val="black"/>
              </a:solidFill>
              <a:cs typeface="Segoe UI Light"/>
            </a:endParaRPr>
          </a:p>
        </p:txBody>
      </p:sp>
      <p:sp>
        <p:nvSpPr>
          <p:cNvPr id="23" name="object 16"/>
          <p:cNvSpPr/>
          <p:nvPr/>
        </p:nvSpPr>
        <p:spPr>
          <a:xfrm>
            <a:off x="5427700" y="4179573"/>
            <a:ext cx="4621861" cy="1839364"/>
          </a:xfrm>
          <a:custGeom>
            <a:avLst/>
            <a:gdLst/>
            <a:ahLst/>
            <a:cxnLst/>
            <a:rect l="l" t="t" r="r" b="b"/>
            <a:pathLst>
              <a:path w="4630420" h="1842770">
                <a:moveTo>
                  <a:pt x="0" y="1839722"/>
                </a:moveTo>
                <a:lnTo>
                  <a:pt x="370331" y="1839722"/>
                </a:lnTo>
                <a:lnTo>
                  <a:pt x="422860" y="1840118"/>
                </a:lnTo>
                <a:lnTo>
                  <a:pt x="471532" y="1840992"/>
                </a:lnTo>
                <a:lnTo>
                  <a:pt x="517953" y="1841865"/>
                </a:lnTo>
                <a:lnTo>
                  <a:pt x="563729" y="1842262"/>
                </a:lnTo>
                <a:lnTo>
                  <a:pt x="610464" y="1841706"/>
                </a:lnTo>
                <a:lnTo>
                  <a:pt x="659765" y="1839722"/>
                </a:lnTo>
                <a:lnTo>
                  <a:pt x="712039" y="1836059"/>
                </a:lnTo>
                <a:lnTo>
                  <a:pt x="766087" y="1831123"/>
                </a:lnTo>
                <a:lnTo>
                  <a:pt x="821102" y="1825228"/>
                </a:lnTo>
                <a:lnTo>
                  <a:pt x="876276" y="1818687"/>
                </a:lnTo>
                <a:lnTo>
                  <a:pt x="930801" y="1811814"/>
                </a:lnTo>
                <a:lnTo>
                  <a:pt x="983869" y="1804924"/>
                </a:lnTo>
                <a:lnTo>
                  <a:pt x="1036027" y="1798298"/>
                </a:lnTo>
                <a:lnTo>
                  <a:pt x="1088037" y="1791668"/>
                </a:lnTo>
                <a:lnTo>
                  <a:pt x="1139412" y="1784715"/>
                </a:lnTo>
                <a:lnTo>
                  <a:pt x="1189665" y="1777115"/>
                </a:lnTo>
                <a:lnTo>
                  <a:pt x="1238309" y="1768549"/>
                </a:lnTo>
                <a:lnTo>
                  <a:pt x="1284858" y="1758696"/>
                </a:lnTo>
                <a:lnTo>
                  <a:pt x="1337496" y="1745270"/>
                </a:lnTo>
                <a:lnTo>
                  <a:pt x="1387294" y="1730449"/>
                </a:lnTo>
                <a:lnTo>
                  <a:pt x="1435067" y="1714237"/>
                </a:lnTo>
                <a:lnTo>
                  <a:pt x="1481633" y="1696642"/>
                </a:lnTo>
                <a:lnTo>
                  <a:pt x="1527809" y="1677670"/>
                </a:lnTo>
                <a:lnTo>
                  <a:pt x="1573668" y="1657871"/>
                </a:lnTo>
                <a:lnTo>
                  <a:pt x="1618587" y="1637237"/>
                </a:lnTo>
                <a:lnTo>
                  <a:pt x="1662574" y="1614933"/>
                </a:lnTo>
                <a:lnTo>
                  <a:pt x="1705634" y="1590123"/>
                </a:lnTo>
                <a:lnTo>
                  <a:pt x="1747774" y="1561973"/>
                </a:lnTo>
                <a:lnTo>
                  <a:pt x="1787692" y="1529194"/>
                </a:lnTo>
                <a:lnTo>
                  <a:pt x="1825386" y="1492350"/>
                </a:lnTo>
                <a:lnTo>
                  <a:pt x="1862805" y="1453378"/>
                </a:lnTo>
                <a:lnTo>
                  <a:pt x="1901901" y="1414218"/>
                </a:lnTo>
                <a:lnTo>
                  <a:pt x="1944624" y="1376807"/>
                </a:lnTo>
                <a:lnTo>
                  <a:pt x="2016128" y="1324518"/>
                </a:lnTo>
                <a:lnTo>
                  <a:pt x="2100135" y="1267682"/>
                </a:lnTo>
                <a:lnTo>
                  <a:pt x="2170045" y="1222037"/>
                </a:lnTo>
                <a:lnTo>
                  <a:pt x="2247263" y="1173281"/>
                </a:lnTo>
                <a:lnTo>
                  <a:pt x="2288206" y="1149762"/>
                </a:lnTo>
                <a:lnTo>
                  <a:pt x="2328078" y="1124100"/>
                </a:lnTo>
                <a:lnTo>
                  <a:pt x="2372868" y="1087628"/>
                </a:lnTo>
                <a:lnTo>
                  <a:pt x="2407620" y="1053544"/>
                </a:lnTo>
                <a:lnTo>
                  <a:pt x="2445272" y="1013041"/>
                </a:lnTo>
                <a:lnTo>
                  <a:pt x="2484215" y="969010"/>
                </a:lnTo>
                <a:lnTo>
                  <a:pt x="2522840" y="924343"/>
                </a:lnTo>
                <a:lnTo>
                  <a:pt x="2559540" y="881935"/>
                </a:lnTo>
                <a:lnTo>
                  <a:pt x="2592704" y="844677"/>
                </a:lnTo>
                <a:lnTo>
                  <a:pt x="2633579" y="798996"/>
                </a:lnTo>
                <a:lnTo>
                  <a:pt x="2667952" y="760031"/>
                </a:lnTo>
                <a:lnTo>
                  <a:pt x="2702325" y="722876"/>
                </a:lnTo>
                <a:lnTo>
                  <a:pt x="2743200" y="682625"/>
                </a:lnTo>
                <a:lnTo>
                  <a:pt x="2775968" y="653360"/>
                </a:lnTo>
                <a:lnTo>
                  <a:pt x="2811798" y="623471"/>
                </a:lnTo>
                <a:lnTo>
                  <a:pt x="2849562" y="592947"/>
                </a:lnTo>
                <a:lnTo>
                  <a:pt x="2888130" y="561777"/>
                </a:lnTo>
                <a:lnTo>
                  <a:pt x="2926373" y="529951"/>
                </a:lnTo>
                <a:lnTo>
                  <a:pt x="2963163" y="497459"/>
                </a:lnTo>
                <a:lnTo>
                  <a:pt x="2999220" y="462760"/>
                </a:lnTo>
                <a:lnTo>
                  <a:pt x="3035591" y="425482"/>
                </a:lnTo>
                <a:lnTo>
                  <a:pt x="3071637" y="387556"/>
                </a:lnTo>
                <a:lnTo>
                  <a:pt x="3106721" y="350910"/>
                </a:lnTo>
                <a:lnTo>
                  <a:pt x="3140202" y="317474"/>
                </a:lnTo>
                <a:lnTo>
                  <a:pt x="3171444" y="289179"/>
                </a:lnTo>
                <a:lnTo>
                  <a:pt x="3211514" y="257409"/>
                </a:lnTo>
                <a:lnTo>
                  <a:pt x="3245977" y="234283"/>
                </a:lnTo>
                <a:lnTo>
                  <a:pt x="3280796" y="215491"/>
                </a:lnTo>
                <a:lnTo>
                  <a:pt x="3321938" y="196723"/>
                </a:lnTo>
                <a:lnTo>
                  <a:pt x="3362030" y="181329"/>
                </a:lnTo>
                <a:lnTo>
                  <a:pt x="3406571" y="167240"/>
                </a:lnTo>
                <a:lnTo>
                  <a:pt x="3453063" y="153901"/>
                </a:lnTo>
                <a:lnTo>
                  <a:pt x="3499007" y="140757"/>
                </a:lnTo>
                <a:lnTo>
                  <a:pt x="3541903" y="127254"/>
                </a:lnTo>
                <a:lnTo>
                  <a:pt x="3587087" y="109094"/>
                </a:lnTo>
                <a:lnTo>
                  <a:pt x="3627247" y="90376"/>
                </a:lnTo>
                <a:lnTo>
                  <a:pt x="3671026" y="72729"/>
                </a:lnTo>
                <a:lnTo>
                  <a:pt x="3727069" y="57785"/>
                </a:lnTo>
                <a:lnTo>
                  <a:pt x="3768862" y="50725"/>
                </a:lnTo>
                <a:lnTo>
                  <a:pt x="3817762" y="44357"/>
                </a:lnTo>
                <a:lnTo>
                  <a:pt x="3870737" y="38687"/>
                </a:lnTo>
                <a:lnTo>
                  <a:pt x="3924753" y="33720"/>
                </a:lnTo>
                <a:lnTo>
                  <a:pt x="3976779" y="29465"/>
                </a:lnTo>
                <a:lnTo>
                  <a:pt x="4023782" y="25927"/>
                </a:lnTo>
                <a:lnTo>
                  <a:pt x="4062729" y="23113"/>
                </a:lnTo>
                <a:lnTo>
                  <a:pt x="4109674" y="21185"/>
                </a:lnTo>
                <a:lnTo>
                  <a:pt x="4140152" y="22352"/>
                </a:lnTo>
                <a:lnTo>
                  <a:pt x="4166653" y="23899"/>
                </a:lnTo>
                <a:lnTo>
                  <a:pt x="4201668" y="23113"/>
                </a:lnTo>
                <a:lnTo>
                  <a:pt x="4249695" y="18162"/>
                </a:lnTo>
                <a:lnTo>
                  <a:pt x="4303664" y="10842"/>
                </a:lnTo>
                <a:lnTo>
                  <a:pt x="4358705" y="3879"/>
                </a:lnTo>
                <a:lnTo>
                  <a:pt x="4409948" y="0"/>
                </a:lnTo>
                <a:lnTo>
                  <a:pt x="4458827" y="734"/>
                </a:lnTo>
                <a:lnTo>
                  <a:pt x="4506944" y="4349"/>
                </a:lnTo>
                <a:lnTo>
                  <a:pt x="4549965" y="8679"/>
                </a:lnTo>
                <a:lnTo>
                  <a:pt x="4583557" y="11557"/>
                </a:lnTo>
                <a:lnTo>
                  <a:pt x="4605605" y="12485"/>
                </a:lnTo>
                <a:lnTo>
                  <a:pt x="4618688" y="12604"/>
                </a:lnTo>
                <a:lnTo>
                  <a:pt x="4625794" y="12199"/>
                </a:lnTo>
                <a:lnTo>
                  <a:pt x="4629911" y="11557"/>
                </a:lnTo>
              </a:path>
            </a:pathLst>
          </a:custGeom>
          <a:ln w="57912">
            <a:solidFill>
              <a:srgbClr val="FFFF00"/>
            </a:solidFill>
          </a:ln>
        </p:spPr>
        <p:txBody>
          <a:bodyPr wrap="square" lIns="0" tIns="0" rIns="0" bIns="0" rtlCol="0"/>
          <a:lstStyle/>
          <a:p>
            <a:pPr defTabSz="912754"/>
            <a:endParaRPr>
              <a:solidFill>
                <a:prstClr val="black"/>
              </a:solidFill>
            </a:endParaRPr>
          </a:p>
        </p:txBody>
      </p:sp>
      <p:sp>
        <p:nvSpPr>
          <p:cNvPr id="24" name="object 17"/>
          <p:cNvSpPr/>
          <p:nvPr/>
        </p:nvSpPr>
        <p:spPr>
          <a:xfrm>
            <a:off x="9344746" y="3558677"/>
            <a:ext cx="704307" cy="541541"/>
          </a:xfrm>
          <a:prstGeom prst="rect">
            <a:avLst/>
          </a:prstGeom>
          <a:blipFill>
            <a:blip r:embed="rId6" cstate="print"/>
            <a:stretch>
              <a:fillRect/>
            </a:stretch>
          </a:blipFill>
        </p:spPr>
        <p:txBody>
          <a:bodyPr wrap="square" lIns="0" tIns="0" rIns="0" bIns="0" rtlCol="0"/>
          <a:lstStyle/>
          <a:p>
            <a:pPr defTabSz="912754"/>
            <a:endParaRPr>
              <a:solidFill>
                <a:prstClr val="black"/>
              </a:solidFill>
            </a:endParaRPr>
          </a:p>
        </p:txBody>
      </p:sp>
      <p:sp>
        <p:nvSpPr>
          <p:cNvPr id="25" name="object 18"/>
          <p:cNvSpPr/>
          <p:nvPr/>
        </p:nvSpPr>
        <p:spPr>
          <a:xfrm>
            <a:off x="9813271" y="6252692"/>
            <a:ext cx="161245" cy="181021"/>
          </a:xfrm>
          <a:prstGeom prst="rect">
            <a:avLst/>
          </a:prstGeom>
          <a:blipFill>
            <a:blip r:embed="rId7" cstate="print"/>
            <a:stretch>
              <a:fillRect/>
            </a:stretch>
          </a:blipFill>
        </p:spPr>
        <p:txBody>
          <a:bodyPr wrap="square" lIns="0" tIns="0" rIns="0" bIns="0" rtlCol="0"/>
          <a:lstStyle/>
          <a:p>
            <a:pPr defTabSz="912754"/>
            <a:endParaRPr>
              <a:solidFill>
                <a:prstClr val="black"/>
              </a:solidFill>
            </a:endParaRPr>
          </a:p>
        </p:txBody>
      </p:sp>
      <p:sp>
        <p:nvSpPr>
          <p:cNvPr id="26" name="object 14"/>
          <p:cNvSpPr/>
          <p:nvPr/>
        </p:nvSpPr>
        <p:spPr>
          <a:xfrm>
            <a:off x="3062600" y="4167313"/>
            <a:ext cx="173668" cy="983065"/>
          </a:xfrm>
          <a:custGeom>
            <a:avLst/>
            <a:gdLst/>
            <a:ahLst/>
            <a:cxnLst/>
            <a:rect l="l" t="t" r="r" b="b"/>
            <a:pathLst>
              <a:path w="173989" h="984885">
                <a:moveTo>
                  <a:pt x="57988" y="173060"/>
                </a:moveTo>
                <a:lnTo>
                  <a:pt x="38862" y="983106"/>
                </a:lnTo>
                <a:lnTo>
                  <a:pt x="96774" y="984503"/>
                </a:lnTo>
                <a:lnTo>
                  <a:pt x="115778" y="174412"/>
                </a:lnTo>
                <a:lnTo>
                  <a:pt x="57988" y="173060"/>
                </a:lnTo>
                <a:close/>
              </a:path>
              <a:path w="173989" h="984885">
                <a:moveTo>
                  <a:pt x="158778" y="144017"/>
                </a:moveTo>
                <a:lnTo>
                  <a:pt x="58674" y="144017"/>
                </a:lnTo>
                <a:lnTo>
                  <a:pt x="116459" y="145414"/>
                </a:lnTo>
                <a:lnTo>
                  <a:pt x="115778" y="174412"/>
                </a:lnTo>
                <a:lnTo>
                  <a:pt x="173736" y="175767"/>
                </a:lnTo>
                <a:lnTo>
                  <a:pt x="158778" y="144017"/>
                </a:lnTo>
                <a:close/>
              </a:path>
              <a:path w="173989" h="984885">
                <a:moveTo>
                  <a:pt x="58674" y="144017"/>
                </a:moveTo>
                <a:lnTo>
                  <a:pt x="57988" y="173060"/>
                </a:lnTo>
                <a:lnTo>
                  <a:pt x="115778" y="174412"/>
                </a:lnTo>
                <a:lnTo>
                  <a:pt x="116459" y="145414"/>
                </a:lnTo>
                <a:lnTo>
                  <a:pt x="58674" y="144017"/>
                </a:lnTo>
                <a:close/>
              </a:path>
              <a:path w="173989" h="984885">
                <a:moveTo>
                  <a:pt x="90931" y="0"/>
                </a:moveTo>
                <a:lnTo>
                  <a:pt x="0" y="171703"/>
                </a:lnTo>
                <a:lnTo>
                  <a:pt x="57988" y="173060"/>
                </a:lnTo>
                <a:lnTo>
                  <a:pt x="58674" y="144017"/>
                </a:lnTo>
                <a:lnTo>
                  <a:pt x="158778" y="144017"/>
                </a:lnTo>
                <a:lnTo>
                  <a:pt x="90931" y="0"/>
                </a:lnTo>
                <a:close/>
              </a:path>
            </a:pathLst>
          </a:custGeom>
          <a:solidFill>
            <a:srgbClr val="FFFF00"/>
          </a:solidFill>
        </p:spPr>
        <p:txBody>
          <a:bodyPr wrap="square" lIns="0" tIns="0" rIns="0" bIns="0" rtlCol="0"/>
          <a:lstStyle/>
          <a:p>
            <a:pPr defTabSz="912754"/>
            <a:endParaRPr>
              <a:solidFill>
                <a:prstClr val="black"/>
              </a:solidFill>
            </a:endParaRPr>
          </a:p>
        </p:txBody>
      </p:sp>
      <p:sp>
        <p:nvSpPr>
          <p:cNvPr id="27" name="Rectangle 26"/>
          <p:cNvSpPr/>
          <p:nvPr/>
        </p:nvSpPr>
        <p:spPr>
          <a:xfrm>
            <a:off x="2081969" y="5250171"/>
            <a:ext cx="2559739" cy="646331"/>
          </a:xfrm>
          <a:prstGeom prst="rect">
            <a:avLst/>
          </a:prstGeom>
        </p:spPr>
        <p:txBody>
          <a:bodyPr wrap="square">
            <a:spAutoFit/>
          </a:bodyPr>
          <a:lstStyle/>
          <a:p>
            <a:pPr marL="12677" defTabSz="912754"/>
            <a:r>
              <a:rPr lang="en-US" spc="5" dirty="0">
                <a:solidFill>
                  <a:prstClr val="black"/>
                </a:solidFill>
                <a:cs typeface="Segoe UI Light"/>
              </a:rPr>
              <a:t>Sigmoid</a:t>
            </a:r>
            <a:r>
              <a:rPr lang="en-US" spc="-55" dirty="0">
                <a:solidFill>
                  <a:prstClr val="black"/>
                </a:solidFill>
                <a:cs typeface="Segoe UI Light"/>
              </a:rPr>
              <a:t> </a:t>
            </a:r>
            <a:r>
              <a:rPr lang="en-US" spc="5" dirty="0">
                <a:solidFill>
                  <a:prstClr val="black"/>
                </a:solidFill>
                <a:cs typeface="Segoe UI Light"/>
              </a:rPr>
              <a:t>function</a:t>
            </a:r>
            <a:endParaRPr lang="en-US" dirty="0">
              <a:solidFill>
                <a:prstClr val="black"/>
              </a:solidFill>
              <a:cs typeface="Segoe UI Light"/>
            </a:endParaRPr>
          </a:p>
          <a:p>
            <a:pPr marL="12677" defTabSz="912754">
              <a:spcBef>
                <a:spcPts val="25"/>
              </a:spcBef>
            </a:pPr>
            <a:r>
              <a:rPr lang="en-US" spc="5" dirty="0">
                <a:solidFill>
                  <a:prstClr val="black"/>
                </a:solidFill>
                <a:cs typeface="Segoe UI Light"/>
              </a:rPr>
              <a:t>Logistic</a:t>
            </a:r>
            <a:r>
              <a:rPr lang="en-US" spc="-75" dirty="0">
                <a:solidFill>
                  <a:prstClr val="black"/>
                </a:solidFill>
                <a:cs typeface="Segoe UI Light"/>
              </a:rPr>
              <a:t> </a:t>
            </a:r>
            <a:r>
              <a:rPr lang="en-US" spc="10" dirty="0">
                <a:solidFill>
                  <a:prstClr val="black"/>
                </a:solidFill>
                <a:cs typeface="Segoe UI Light"/>
              </a:rPr>
              <a:t>function</a:t>
            </a:r>
            <a:endParaRPr lang="en-US" dirty="0">
              <a:solidFill>
                <a:prstClr val="black"/>
              </a:solidFill>
              <a:cs typeface="Segoe UI Light"/>
            </a:endParaRPr>
          </a:p>
        </p:txBody>
      </p:sp>
      <p:sp>
        <p:nvSpPr>
          <p:cNvPr id="28" name="object 2"/>
          <p:cNvSpPr/>
          <p:nvPr/>
        </p:nvSpPr>
        <p:spPr>
          <a:xfrm>
            <a:off x="2233422" y="2192700"/>
            <a:ext cx="3142764" cy="555232"/>
          </a:xfrm>
          <a:prstGeom prst="rect">
            <a:avLst/>
          </a:prstGeom>
          <a:blipFill>
            <a:blip r:embed="rId8" cstate="print"/>
            <a:stretch>
              <a:fillRect/>
            </a:stretch>
          </a:blipFill>
        </p:spPr>
        <p:txBody>
          <a:bodyPr wrap="square" lIns="0" tIns="0" rIns="0" bIns="0" rtlCol="0"/>
          <a:lstStyle/>
          <a:p>
            <a:pPr defTabSz="912754"/>
            <a:endParaRPr dirty="0">
              <a:solidFill>
                <a:srgbClr val="000000"/>
              </a:solidFill>
            </a:endParaRPr>
          </a:p>
        </p:txBody>
      </p:sp>
      <p:pic>
        <p:nvPicPr>
          <p:cNvPr id="29" name="Picture 28"/>
          <p:cNvPicPr>
            <a:picLocks noChangeAspect="1"/>
          </p:cNvPicPr>
          <p:nvPr/>
        </p:nvPicPr>
        <p:blipFill>
          <a:blip r:embed="rId9"/>
          <a:stretch>
            <a:fillRect/>
          </a:stretch>
        </p:blipFill>
        <p:spPr>
          <a:xfrm>
            <a:off x="3746378" y="1927064"/>
            <a:ext cx="888448" cy="1064920"/>
          </a:xfrm>
          <a:prstGeom prst="rect">
            <a:avLst/>
          </a:prstGeom>
        </p:spPr>
      </p:pic>
      <p:pic>
        <p:nvPicPr>
          <p:cNvPr id="30" name="Picture 29"/>
          <p:cNvPicPr>
            <a:picLocks noChangeAspect="1"/>
          </p:cNvPicPr>
          <p:nvPr/>
        </p:nvPicPr>
        <p:blipFill>
          <a:blip r:embed="rId10"/>
          <a:stretch>
            <a:fillRect/>
          </a:stretch>
        </p:blipFill>
        <p:spPr>
          <a:xfrm>
            <a:off x="4070172" y="1961673"/>
            <a:ext cx="748487" cy="1064920"/>
          </a:xfrm>
          <a:prstGeom prst="rect">
            <a:avLst/>
          </a:prstGeom>
        </p:spPr>
      </p:pic>
      <p:pic>
        <p:nvPicPr>
          <p:cNvPr id="31" name="Picture 30"/>
          <p:cNvPicPr>
            <a:picLocks noChangeAspect="1"/>
          </p:cNvPicPr>
          <p:nvPr/>
        </p:nvPicPr>
        <p:blipFill>
          <a:blip r:embed="rId11"/>
          <a:stretch>
            <a:fillRect/>
          </a:stretch>
        </p:blipFill>
        <p:spPr>
          <a:xfrm>
            <a:off x="5094440" y="1967533"/>
            <a:ext cx="748487" cy="1064920"/>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38</a:t>
            </a:fld>
            <a:endParaRPr lang="en-US"/>
          </a:p>
        </p:txBody>
      </p:sp>
    </p:spTree>
    <p:extLst>
      <p:ext uri="{BB962C8B-B14F-4D97-AF65-F5344CB8AC3E}">
        <p14:creationId xmlns:p14="http://schemas.microsoft.com/office/powerpoint/2010/main" val="258882689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Decision Boundary</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9" name="object 5"/>
          <p:cNvSpPr/>
          <p:nvPr/>
        </p:nvSpPr>
        <p:spPr>
          <a:xfrm>
            <a:off x="3368518" y="4038763"/>
            <a:ext cx="395508" cy="395508"/>
          </a:xfrm>
          <a:custGeom>
            <a:avLst/>
            <a:gdLst/>
            <a:ahLst/>
            <a:cxnLst/>
            <a:rect l="l" t="t" r="r" b="b"/>
            <a:pathLst>
              <a:path w="396239" h="396239">
                <a:moveTo>
                  <a:pt x="0" y="198119"/>
                </a:moveTo>
                <a:lnTo>
                  <a:pt x="5229" y="152675"/>
                </a:lnTo>
                <a:lnTo>
                  <a:pt x="20127" y="110967"/>
                </a:lnTo>
                <a:lnTo>
                  <a:pt x="43507" y="74182"/>
                </a:lnTo>
                <a:lnTo>
                  <a:pt x="74182" y="43507"/>
                </a:lnTo>
                <a:lnTo>
                  <a:pt x="110967" y="20127"/>
                </a:lnTo>
                <a:lnTo>
                  <a:pt x="152675" y="5229"/>
                </a:lnTo>
                <a:lnTo>
                  <a:pt x="198119" y="0"/>
                </a:lnTo>
                <a:lnTo>
                  <a:pt x="243564" y="5229"/>
                </a:lnTo>
                <a:lnTo>
                  <a:pt x="285272" y="20127"/>
                </a:lnTo>
                <a:lnTo>
                  <a:pt x="322057" y="43507"/>
                </a:lnTo>
                <a:lnTo>
                  <a:pt x="352732" y="74182"/>
                </a:lnTo>
                <a:lnTo>
                  <a:pt x="376112" y="110967"/>
                </a:lnTo>
                <a:lnTo>
                  <a:pt x="391010" y="152675"/>
                </a:lnTo>
                <a:lnTo>
                  <a:pt x="396239" y="198119"/>
                </a:lnTo>
                <a:lnTo>
                  <a:pt x="391010" y="243564"/>
                </a:lnTo>
                <a:lnTo>
                  <a:pt x="376112" y="285272"/>
                </a:lnTo>
                <a:lnTo>
                  <a:pt x="352732" y="322057"/>
                </a:lnTo>
                <a:lnTo>
                  <a:pt x="322057" y="352732"/>
                </a:lnTo>
                <a:lnTo>
                  <a:pt x="285272" y="376112"/>
                </a:lnTo>
                <a:lnTo>
                  <a:pt x="243564" y="391010"/>
                </a:lnTo>
                <a:lnTo>
                  <a:pt x="198119" y="396239"/>
                </a:lnTo>
                <a:lnTo>
                  <a:pt x="152675" y="391010"/>
                </a:lnTo>
                <a:lnTo>
                  <a:pt x="110967" y="376112"/>
                </a:lnTo>
                <a:lnTo>
                  <a:pt x="74182" y="352732"/>
                </a:lnTo>
                <a:lnTo>
                  <a:pt x="43507" y="322057"/>
                </a:lnTo>
                <a:lnTo>
                  <a:pt x="20127" y="285272"/>
                </a:lnTo>
                <a:lnTo>
                  <a:pt x="5229" y="243564"/>
                </a:lnTo>
                <a:lnTo>
                  <a:pt x="0" y="198119"/>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10" name="object 6"/>
          <p:cNvSpPr/>
          <p:nvPr/>
        </p:nvSpPr>
        <p:spPr>
          <a:xfrm>
            <a:off x="4370978" y="4317139"/>
            <a:ext cx="397409" cy="395508"/>
          </a:xfrm>
          <a:custGeom>
            <a:avLst/>
            <a:gdLst/>
            <a:ahLst/>
            <a:cxnLst/>
            <a:rect l="l" t="t" r="r" b="b"/>
            <a:pathLst>
              <a:path w="398145" h="396239">
                <a:moveTo>
                  <a:pt x="0" y="198119"/>
                </a:moveTo>
                <a:lnTo>
                  <a:pt x="5251" y="152675"/>
                </a:lnTo>
                <a:lnTo>
                  <a:pt x="20211" y="110967"/>
                </a:lnTo>
                <a:lnTo>
                  <a:pt x="43687" y="74182"/>
                </a:lnTo>
                <a:lnTo>
                  <a:pt x="74484" y="43507"/>
                </a:lnTo>
                <a:lnTo>
                  <a:pt x="111411" y="20127"/>
                </a:lnTo>
                <a:lnTo>
                  <a:pt x="153275" y="5229"/>
                </a:lnTo>
                <a:lnTo>
                  <a:pt x="198882" y="0"/>
                </a:lnTo>
                <a:lnTo>
                  <a:pt x="244488" y="5229"/>
                </a:lnTo>
                <a:lnTo>
                  <a:pt x="286352" y="20127"/>
                </a:lnTo>
                <a:lnTo>
                  <a:pt x="323279" y="43507"/>
                </a:lnTo>
                <a:lnTo>
                  <a:pt x="354076" y="74182"/>
                </a:lnTo>
                <a:lnTo>
                  <a:pt x="377552" y="110967"/>
                </a:lnTo>
                <a:lnTo>
                  <a:pt x="392512" y="152675"/>
                </a:lnTo>
                <a:lnTo>
                  <a:pt x="397763" y="198119"/>
                </a:lnTo>
                <a:lnTo>
                  <a:pt x="392512" y="243564"/>
                </a:lnTo>
                <a:lnTo>
                  <a:pt x="377552" y="285272"/>
                </a:lnTo>
                <a:lnTo>
                  <a:pt x="354076" y="322057"/>
                </a:lnTo>
                <a:lnTo>
                  <a:pt x="323279" y="352732"/>
                </a:lnTo>
                <a:lnTo>
                  <a:pt x="286352" y="376112"/>
                </a:lnTo>
                <a:lnTo>
                  <a:pt x="244488" y="391010"/>
                </a:lnTo>
                <a:lnTo>
                  <a:pt x="198882" y="396239"/>
                </a:lnTo>
                <a:lnTo>
                  <a:pt x="153275" y="391010"/>
                </a:lnTo>
                <a:lnTo>
                  <a:pt x="111411" y="376112"/>
                </a:lnTo>
                <a:lnTo>
                  <a:pt x="74484" y="352732"/>
                </a:lnTo>
                <a:lnTo>
                  <a:pt x="43687" y="322057"/>
                </a:lnTo>
                <a:lnTo>
                  <a:pt x="20211" y="285272"/>
                </a:lnTo>
                <a:lnTo>
                  <a:pt x="5251" y="243564"/>
                </a:lnTo>
                <a:lnTo>
                  <a:pt x="0" y="198119"/>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13" name="object 7"/>
          <p:cNvSpPr/>
          <p:nvPr/>
        </p:nvSpPr>
        <p:spPr>
          <a:xfrm>
            <a:off x="3882678" y="4552923"/>
            <a:ext cx="397409" cy="397409"/>
          </a:xfrm>
          <a:custGeom>
            <a:avLst/>
            <a:gdLst/>
            <a:ahLst/>
            <a:cxnLst/>
            <a:rect l="l" t="t" r="r" b="b"/>
            <a:pathLst>
              <a:path w="398144" h="398145">
                <a:moveTo>
                  <a:pt x="0" y="198882"/>
                </a:moveTo>
                <a:lnTo>
                  <a:pt x="5251" y="153275"/>
                </a:lnTo>
                <a:lnTo>
                  <a:pt x="20211" y="111411"/>
                </a:lnTo>
                <a:lnTo>
                  <a:pt x="43687" y="74484"/>
                </a:lnTo>
                <a:lnTo>
                  <a:pt x="74484" y="43687"/>
                </a:lnTo>
                <a:lnTo>
                  <a:pt x="111411" y="20211"/>
                </a:lnTo>
                <a:lnTo>
                  <a:pt x="153275" y="5251"/>
                </a:lnTo>
                <a:lnTo>
                  <a:pt x="198881" y="0"/>
                </a:lnTo>
                <a:lnTo>
                  <a:pt x="244488" y="5251"/>
                </a:lnTo>
                <a:lnTo>
                  <a:pt x="286352" y="20211"/>
                </a:lnTo>
                <a:lnTo>
                  <a:pt x="323279" y="43687"/>
                </a:lnTo>
                <a:lnTo>
                  <a:pt x="354076" y="74484"/>
                </a:lnTo>
                <a:lnTo>
                  <a:pt x="377552" y="111411"/>
                </a:lnTo>
                <a:lnTo>
                  <a:pt x="392512" y="153275"/>
                </a:lnTo>
                <a:lnTo>
                  <a:pt x="397763" y="198882"/>
                </a:lnTo>
                <a:lnTo>
                  <a:pt x="392512" y="244488"/>
                </a:lnTo>
                <a:lnTo>
                  <a:pt x="377552" y="286352"/>
                </a:lnTo>
                <a:lnTo>
                  <a:pt x="354076" y="323279"/>
                </a:lnTo>
                <a:lnTo>
                  <a:pt x="323279" y="354076"/>
                </a:lnTo>
                <a:lnTo>
                  <a:pt x="286352" y="377552"/>
                </a:lnTo>
                <a:lnTo>
                  <a:pt x="244488" y="392512"/>
                </a:lnTo>
                <a:lnTo>
                  <a:pt x="198881" y="397764"/>
                </a:lnTo>
                <a:lnTo>
                  <a:pt x="153275" y="392512"/>
                </a:lnTo>
                <a:lnTo>
                  <a:pt x="111411" y="377552"/>
                </a:lnTo>
                <a:lnTo>
                  <a:pt x="74484" y="354076"/>
                </a:lnTo>
                <a:lnTo>
                  <a:pt x="43687" y="323279"/>
                </a:lnTo>
                <a:lnTo>
                  <a:pt x="20211" y="286352"/>
                </a:lnTo>
                <a:lnTo>
                  <a:pt x="5251" y="244488"/>
                </a:lnTo>
                <a:lnTo>
                  <a:pt x="0" y="198882"/>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14" name="object 8"/>
          <p:cNvSpPr/>
          <p:nvPr/>
        </p:nvSpPr>
        <p:spPr>
          <a:xfrm>
            <a:off x="3879636" y="3933802"/>
            <a:ext cx="386634" cy="429100"/>
          </a:xfrm>
          <a:custGeom>
            <a:avLst/>
            <a:gdLst/>
            <a:ahLst/>
            <a:cxnLst/>
            <a:rect l="l" t="t" r="r" b="b"/>
            <a:pathLst>
              <a:path w="387350" h="429895">
                <a:moveTo>
                  <a:pt x="0" y="214883"/>
                </a:moveTo>
                <a:lnTo>
                  <a:pt x="5109" y="165631"/>
                </a:lnTo>
                <a:lnTo>
                  <a:pt x="19665" y="120409"/>
                </a:lnTo>
                <a:lnTo>
                  <a:pt x="42507" y="80509"/>
                </a:lnTo>
                <a:lnTo>
                  <a:pt x="72476" y="47226"/>
                </a:lnTo>
                <a:lnTo>
                  <a:pt x="108412" y="21851"/>
                </a:lnTo>
                <a:lnTo>
                  <a:pt x="149156" y="5678"/>
                </a:lnTo>
                <a:lnTo>
                  <a:pt x="193548" y="0"/>
                </a:lnTo>
                <a:lnTo>
                  <a:pt x="237939" y="5678"/>
                </a:lnTo>
                <a:lnTo>
                  <a:pt x="278683" y="21851"/>
                </a:lnTo>
                <a:lnTo>
                  <a:pt x="314619" y="47226"/>
                </a:lnTo>
                <a:lnTo>
                  <a:pt x="344588" y="80509"/>
                </a:lnTo>
                <a:lnTo>
                  <a:pt x="367430" y="120409"/>
                </a:lnTo>
                <a:lnTo>
                  <a:pt x="381986" y="165631"/>
                </a:lnTo>
                <a:lnTo>
                  <a:pt x="387096" y="214883"/>
                </a:lnTo>
                <a:lnTo>
                  <a:pt x="381986" y="264136"/>
                </a:lnTo>
                <a:lnTo>
                  <a:pt x="367430" y="309358"/>
                </a:lnTo>
                <a:lnTo>
                  <a:pt x="344588" y="349258"/>
                </a:lnTo>
                <a:lnTo>
                  <a:pt x="314619" y="382541"/>
                </a:lnTo>
                <a:lnTo>
                  <a:pt x="278683" y="407916"/>
                </a:lnTo>
                <a:lnTo>
                  <a:pt x="237939" y="424089"/>
                </a:lnTo>
                <a:lnTo>
                  <a:pt x="193548" y="429768"/>
                </a:lnTo>
                <a:lnTo>
                  <a:pt x="149156" y="424089"/>
                </a:lnTo>
                <a:lnTo>
                  <a:pt x="108412" y="407916"/>
                </a:lnTo>
                <a:lnTo>
                  <a:pt x="72476" y="382541"/>
                </a:lnTo>
                <a:lnTo>
                  <a:pt x="42507" y="349258"/>
                </a:lnTo>
                <a:lnTo>
                  <a:pt x="19665" y="309358"/>
                </a:lnTo>
                <a:lnTo>
                  <a:pt x="5109" y="264136"/>
                </a:lnTo>
                <a:lnTo>
                  <a:pt x="0" y="214883"/>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15" name="object 9"/>
          <p:cNvSpPr/>
          <p:nvPr/>
        </p:nvSpPr>
        <p:spPr>
          <a:xfrm>
            <a:off x="5848428" y="3051643"/>
            <a:ext cx="396775" cy="396141"/>
          </a:xfrm>
          <a:custGeom>
            <a:avLst/>
            <a:gdLst/>
            <a:ahLst/>
            <a:cxnLst/>
            <a:rect l="l" t="t" r="r" b="b"/>
            <a:pathLst>
              <a:path w="397510" h="396875">
                <a:moveTo>
                  <a:pt x="248171" y="223646"/>
                </a:moveTo>
                <a:lnTo>
                  <a:pt x="198247" y="223646"/>
                </a:lnTo>
                <a:lnTo>
                  <a:pt x="368046" y="396875"/>
                </a:lnTo>
                <a:lnTo>
                  <a:pt x="393573" y="371982"/>
                </a:lnTo>
                <a:lnTo>
                  <a:pt x="248171" y="223646"/>
                </a:lnTo>
                <a:close/>
              </a:path>
              <a:path w="397510" h="396875">
                <a:moveTo>
                  <a:pt x="28828" y="0"/>
                </a:moveTo>
                <a:lnTo>
                  <a:pt x="3428" y="24891"/>
                </a:lnTo>
                <a:lnTo>
                  <a:pt x="173227" y="198119"/>
                </a:lnTo>
                <a:lnTo>
                  <a:pt x="0" y="368045"/>
                </a:lnTo>
                <a:lnTo>
                  <a:pt x="25019" y="393445"/>
                </a:lnTo>
                <a:lnTo>
                  <a:pt x="198247" y="223646"/>
                </a:lnTo>
                <a:lnTo>
                  <a:pt x="248171" y="223646"/>
                </a:lnTo>
                <a:lnTo>
                  <a:pt x="223647" y="198627"/>
                </a:lnTo>
                <a:lnTo>
                  <a:pt x="249578" y="173227"/>
                </a:lnTo>
                <a:lnTo>
                  <a:pt x="198754" y="173227"/>
                </a:lnTo>
                <a:lnTo>
                  <a:pt x="28828" y="0"/>
                </a:lnTo>
                <a:close/>
              </a:path>
              <a:path w="397510" h="396875">
                <a:moveTo>
                  <a:pt x="371983" y="3428"/>
                </a:moveTo>
                <a:lnTo>
                  <a:pt x="198754" y="173227"/>
                </a:lnTo>
                <a:lnTo>
                  <a:pt x="249578" y="173227"/>
                </a:lnTo>
                <a:lnTo>
                  <a:pt x="397001" y="28828"/>
                </a:lnTo>
                <a:lnTo>
                  <a:pt x="371983" y="3428"/>
                </a:lnTo>
                <a:close/>
              </a:path>
            </a:pathLst>
          </a:custGeom>
          <a:solidFill>
            <a:srgbClr val="000000"/>
          </a:solidFill>
        </p:spPr>
        <p:txBody>
          <a:bodyPr wrap="square" lIns="0" tIns="0" rIns="0" bIns="0" rtlCol="0"/>
          <a:lstStyle/>
          <a:p>
            <a:pPr defTabSz="912754"/>
            <a:endParaRPr>
              <a:solidFill>
                <a:srgbClr val="000000"/>
              </a:solidFill>
            </a:endParaRPr>
          </a:p>
        </p:txBody>
      </p:sp>
      <p:sp>
        <p:nvSpPr>
          <p:cNvPr id="16" name="object 10"/>
          <p:cNvSpPr/>
          <p:nvPr/>
        </p:nvSpPr>
        <p:spPr>
          <a:xfrm>
            <a:off x="5848428" y="3051643"/>
            <a:ext cx="396775" cy="396141"/>
          </a:xfrm>
          <a:custGeom>
            <a:avLst/>
            <a:gdLst/>
            <a:ahLst/>
            <a:cxnLst/>
            <a:rect l="l" t="t" r="r" b="b"/>
            <a:pathLst>
              <a:path w="397510" h="396875">
                <a:moveTo>
                  <a:pt x="28828" y="0"/>
                </a:moveTo>
                <a:lnTo>
                  <a:pt x="198754" y="173227"/>
                </a:lnTo>
                <a:lnTo>
                  <a:pt x="371983" y="3428"/>
                </a:lnTo>
                <a:lnTo>
                  <a:pt x="397001" y="28828"/>
                </a:lnTo>
                <a:lnTo>
                  <a:pt x="223647" y="198627"/>
                </a:lnTo>
                <a:lnTo>
                  <a:pt x="393573" y="371982"/>
                </a:lnTo>
                <a:lnTo>
                  <a:pt x="368046" y="396875"/>
                </a:lnTo>
                <a:lnTo>
                  <a:pt x="198247" y="223646"/>
                </a:lnTo>
                <a:lnTo>
                  <a:pt x="25019" y="393445"/>
                </a:lnTo>
                <a:lnTo>
                  <a:pt x="0" y="368045"/>
                </a:lnTo>
                <a:lnTo>
                  <a:pt x="173227" y="198119"/>
                </a:lnTo>
                <a:lnTo>
                  <a:pt x="3428" y="24891"/>
                </a:lnTo>
                <a:lnTo>
                  <a:pt x="28828"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17" name="object 11"/>
          <p:cNvSpPr/>
          <p:nvPr/>
        </p:nvSpPr>
        <p:spPr>
          <a:xfrm>
            <a:off x="6015631" y="1974898"/>
            <a:ext cx="396775" cy="396775"/>
          </a:xfrm>
          <a:custGeom>
            <a:avLst/>
            <a:gdLst/>
            <a:ahLst/>
            <a:cxnLst/>
            <a:rect l="l" t="t" r="r" b="b"/>
            <a:pathLst>
              <a:path w="397510" h="397510">
                <a:moveTo>
                  <a:pt x="248189" y="223774"/>
                </a:moveTo>
                <a:lnTo>
                  <a:pt x="198247" y="223774"/>
                </a:lnTo>
                <a:lnTo>
                  <a:pt x="368046" y="397002"/>
                </a:lnTo>
                <a:lnTo>
                  <a:pt x="393573" y="371983"/>
                </a:lnTo>
                <a:lnTo>
                  <a:pt x="248189" y="223774"/>
                </a:lnTo>
                <a:close/>
              </a:path>
              <a:path w="397510" h="397510">
                <a:moveTo>
                  <a:pt x="28956" y="0"/>
                </a:moveTo>
                <a:lnTo>
                  <a:pt x="3428" y="25019"/>
                </a:lnTo>
                <a:lnTo>
                  <a:pt x="173354" y="198247"/>
                </a:lnTo>
                <a:lnTo>
                  <a:pt x="0" y="368173"/>
                </a:lnTo>
                <a:lnTo>
                  <a:pt x="25019" y="393573"/>
                </a:lnTo>
                <a:lnTo>
                  <a:pt x="198247" y="223774"/>
                </a:lnTo>
                <a:lnTo>
                  <a:pt x="248189" y="223774"/>
                </a:lnTo>
                <a:lnTo>
                  <a:pt x="223647" y="198755"/>
                </a:lnTo>
                <a:lnTo>
                  <a:pt x="249578" y="173355"/>
                </a:lnTo>
                <a:lnTo>
                  <a:pt x="198754" y="173355"/>
                </a:lnTo>
                <a:lnTo>
                  <a:pt x="28956" y="0"/>
                </a:lnTo>
                <a:close/>
              </a:path>
              <a:path w="397510" h="397510">
                <a:moveTo>
                  <a:pt x="371983" y="3429"/>
                </a:moveTo>
                <a:lnTo>
                  <a:pt x="198754" y="173355"/>
                </a:lnTo>
                <a:lnTo>
                  <a:pt x="249578" y="173355"/>
                </a:lnTo>
                <a:lnTo>
                  <a:pt x="397001" y="28956"/>
                </a:lnTo>
                <a:lnTo>
                  <a:pt x="371983" y="3429"/>
                </a:lnTo>
                <a:close/>
              </a:path>
            </a:pathLst>
          </a:custGeom>
          <a:solidFill>
            <a:srgbClr val="000000"/>
          </a:solidFill>
        </p:spPr>
        <p:txBody>
          <a:bodyPr wrap="square" lIns="0" tIns="0" rIns="0" bIns="0" rtlCol="0"/>
          <a:lstStyle/>
          <a:p>
            <a:pPr defTabSz="912754"/>
            <a:endParaRPr>
              <a:solidFill>
                <a:srgbClr val="000000"/>
              </a:solidFill>
            </a:endParaRPr>
          </a:p>
        </p:txBody>
      </p:sp>
      <p:sp>
        <p:nvSpPr>
          <p:cNvPr id="18" name="object 12"/>
          <p:cNvSpPr/>
          <p:nvPr/>
        </p:nvSpPr>
        <p:spPr>
          <a:xfrm>
            <a:off x="6015631" y="1974898"/>
            <a:ext cx="396775" cy="396775"/>
          </a:xfrm>
          <a:custGeom>
            <a:avLst/>
            <a:gdLst/>
            <a:ahLst/>
            <a:cxnLst/>
            <a:rect l="l" t="t" r="r" b="b"/>
            <a:pathLst>
              <a:path w="397510" h="397510">
                <a:moveTo>
                  <a:pt x="28956" y="0"/>
                </a:moveTo>
                <a:lnTo>
                  <a:pt x="198754" y="173355"/>
                </a:lnTo>
                <a:lnTo>
                  <a:pt x="371983" y="3429"/>
                </a:lnTo>
                <a:lnTo>
                  <a:pt x="397001" y="28956"/>
                </a:lnTo>
                <a:lnTo>
                  <a:pt x="223647" y="198755"/>
                </a:lnTo>
                <a:lnTo>
                  <a:pt x="393573" y="371983"/>
                </a:lnTo>
                <a:lnTo>
                  <a:pt x="368046" y="397002"/>
                </a:lnTo>
                <a:lnTo>
                  <a:pt x="198247" y="223774"/>
                </a:lnTo>
                <a:lnTo>
                  <a:pt x="25019" y="393573"/>
                </a:lnTo>
                <a:lnTo>
                  <a:pt x="0" y="368173"/>
                </a:lnTo>
                <a:lnTo>
                  <a:pt x="173354" y="198247"/>
                </a:lnTo>
                <a:lnTo>
                  <a:pt x="3428" y="25019"/>
                </a:lnTo>
                <a:lnTo>
                  <a:pt x="28956"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19" name="object 13"/>
          <p:cNvSpPr/>
          <p:nvPr/>
        </p:nvSpPr>
        <p:spPr>
          <a:xfrm>
            <a:off x="6750997" y="2637754"/>
            <a:ext cx="396141" cy="396141"/>
          </a:xfrm>
          <a:custGeom>
            <a:avLst/>
            <a:gdLst/>
            <a:ahLst/>
            <a:cxnLst/>
            <a:rect l="l" t="t" r="r" b="b"/>
            <a:pathLst>
              <a:path w="396875" h="396875">
                <a:moveTo>
                  <a:pt x="248152" y="223647"/>
                </a:moveTo>
                <a:lnTo>
                  <a:pt x="198120" y="223647"/>
                </a:lnTo>
                <a:lnTo>
                  <a:pt x="368046" y="396875"/>
                </a:lnTo>
                <a:lnTo>
                  <a:pt x="393446" y="371983"/>
                </a:lnTo>
                <a:lnTo>
                  <a:pt x="248152" y="223647"/>
                </a:lnTo>
                <a:close/>
              </a:path>
              <a:path w="396875" h="396875">
                <a:moveTo>
                  <a:pt x="28829" y="0"/>
                </a:moveTo>
                <a:lnTo>
                  <a:pt x="3429" y="24891"/>
                </a:lnTo>
                <a:lnTo>
                  <a:pt x="173227" y="198120"/>
                </a:lnTo>
                <a:lnTo>
                  <a:pt x="0" y="368046"/>
                </a:lnTo>
                <a:lnTo>
                  <a:pt x="24892" y="393446"/>
                </a:lnTo>
                <a:lnTo>
                  <a:pt x="198120" y="223647"/>
                </a:lnTo>
                <a:lnTo>
                  <a:pt x="248152" y="223647"/>
                </a:lnTo>
                <a:lnTo>
                  <a:pt x="223647" y="198627"/>
                </a:lnTo>
                <a:lnTo>
                  <a:pt x="249559" y="173227"/>
                </a:lnTo>
                <a:lnTo>
                  <a:pt x="198627" y="173227"/>
                </a:lnTo>
                <a:lnTo>
                  <a:pt x="28829" y="0"/>
                </a:lnTo>
                <a:close/>
              </a:path>
              <a:path w="396875" h="396875">
                <a:moveTo>
                  <a:pt x="371983" y="3301"/>
                </a:moveTo>
                <a:lnTo>
                  <a:pt x="198627" y="173227"/>
                </a:lnTo>
                <a:lnTo>
                  <a:pt x="249559" y="173227"/>
                </a:lnTo>
                <a:lnTo>
                  <a:pt x="396875" y="28828"/>
                </a:lnTo>
                <a:lnTo>
                  <a:pt x="371983" y="3301"/>
                </a:lnTo>
                <a:close/>
              </a:path>
            </a:pathLst>
          </a:custGeom>
          <a:solidFill>
            <a:srgbClr val="000000"/>
          </a:solidFill>
        </p:spPr>
        <p:txBody>
          <a:bodyPr wrap="square" lIns="0" tIns="0" rIns="0" bIns="0" rtlCol="0"/>
          <a:lstStyle/>
          <a:p>
            <a:pPr defTabSz="912754"/>
            <a:endParaRPr>
              <a:solidFill>
                <a:srgbClr val="000000"/>
              </a:solidFill>
            </a:endParaRPr>
          </a:p>
        </p:txBody>
      </p:sp>
      <p:sp>
        <p:nvSpPr>
          <p:cNvPr id="20" name="object 14"/>
          <p:cNvSpPr/>
          <p:nvPr/>
        </p:nvSpPr>
        <p:spPr>
          <a:xfrm>
            <a:off x="6750997" y="2637754"/>
            <a:ext cx="396141" cy="396141"/>
          </a:xfrm>
          <a:custGeom>
            <a:avLst/>
            <a:gdLst/>
            <a:ahLst/>
            <a:cxnLst/>
            <a:rect l="l" t="t" r="r" b="b"/>
            <a:pathLst>
              <a:path w="396875" h="396875">
                <a:moveTo>
                  <a:pt x="28829" y="0"/>
                </a:moveTo>
                <a:lnTo>
                  <a:pt x="198627" y="173227"/>
                </a:lnTo>
                <a:lnTo>
                  <a:pt x="371983" y="3301"/>
                </a:lnTo>
                <a:lnTo>
                  <a:pt x="396875" y="28828"/>
                </a:lnTo>
                <a:lnTo>
                  <a:pt x="223647" y="198627"/>
                </a:lnTo>
                <a:lnTo>
                  <a:pt x="393446" y="371983"/>
                </a:lnTo>
                <a:lnTo>
                  <a:pt x="368046" y="396875"/>
                </a:lnTo>
                <a:lnTo>
                  <a:pt x="198120" y="223647"/>
                </a:lnTo>
                <a:lnTo>
                  <a:pt x="24892" y="393446"/>
                </a:lnTo>
                <a:lnTo>
                  <a:pt x="0" y="368046"/>
                </a:lnTo>
                <a:lnTo>
                  <a:pt x="173227" y="198120"/>
                </a:lnTo>
                <a:lnTo>
                  <a:pt x="3429" y="24891"/>
                </a:lnTo>
                <a:lnTo>
                  <a:pt x="28829"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21" name="object 15"/>
          <p:cNvSpPr/>
          <p:nvPr/>
        </p:nvSpPr>
        <p:spPr>
          <a:xfrm>
            <a:off x="5992687" y="2602513"/>
            <a:ext cx="396141" cy="396775"/>
          </a:xfrm>
          <a:custGeom>
            <a:avLst/>
            <a:gdLst/>
            <a:ahLst/>
            <a:cxnLst/>
            <a:rect l="l" t="t" r="r" b="b"/>
            <a:pathLst>
              <a:path w="396875" h="397510">
                <a:moveTo>
                  <a:pt x="248170" y="223774"/>
                </a:moveTo>
                <a:lnTo>
                  <a:pt x="198120" y="223774"/>
                </a:lnTo>
                <a:lnTo>
                  <a:pt x="368046" y="397001"/>
                </a:lnTo>
                <a:lnTo>
                  <a:pt x="393446" y="371982"/>
                </a:lnTo>
                <a:lnTo>
                  <a:pt x="248170" y="223774"/>
                </a:lnTo>
                <a:close/>
              </a:path>
              <a:path w="396875" h="397510">
                <a:moveTo>
                  <a:pt x="28828" y="0"/>
                </a:moveTo>
                <a:lnTo>
                  <a:pt x="3428" y="25018"/>
                </a:lnTo>
                <a:lnTo>
                  <a:pt x="173227" y="198246"/>
                </a:lnTo>
                <a:lnTo>
                  <a:pt x="0" y="368172"/>
                </a:lnTo>
                <a:lnTo>
                  <a:pt x="24891" y="393572"/>
                </a:lnTo>
                <a:lnTo>
                  <a:pt x="198120" y="223774"/>
                </a:lnTo>
                <a:lnTo>
                  <a:pt x="248170" y="223774"/>
                </a:lnTo>
                <a:lnTo>
                  <a:pt x="223647" y="198754"/>
                </a:lnTo>
                <a:lnTo>
                  <a:pt x="249559" y="173354"/>
                </a:lnTo>
                <a:lnTo>
                  <a:pt x="198627" y="173354"/>
                </a:lnTo>
                <a:lnTo>
                  <a:pt x="28828" y="0"/>
                </a:lnTo>
                <a:close/>
              </a:path>
              <a:path w="396875" h="397510">
                <a:moveTo>
                  <a:pt x="371983" y="3428"/>
                </a:moveTo>
                <a:lnTo>
                  <a:pt x="198627" y="173354"/>
                </a:lnTo>
                <a:lnTo>
                  <a:pt x="249559" y="173354"/>
                </a:lnTo>
                <a:lnTo>
                  <a:pt x="396875" y="28955"/>
                </a:lnTo>
                <a:lnTo>
                  <a:pt x="371983" y="3428"/>
                </a:lnTo>
                <a:close/>
              </a:path>
            </a:pathLst>
          </a:custGeom>
          <a:solidFill>
            <a:srgbClr val="000000"/>
          </a:solidFill>
        </p:spPr>
        <p:txBody>
          <a:bodyPr wrap="square" lIns="0" tIns="0" rIns="0" bIns="0" rtlCol="0"/>
          <a:lstStyle/>
          <a:p>
            <a:pPr defTabSz="912754"/>
            <a:endParaRPr>
              <a:solidFill>
                <a:srgbClr val="000000"/>
              </a:solidFill>
            </a:endParaRPr>
          </a:p>
        </p:txBody>
      </p:sp>
      <p:sp>
        <p:nvSpPr>
          <p:cNvPr id="22" name="object 16"/>
          <p:cNvSpPr/>
          <p:nvPr/>
        </p:nvSpPr>
        <p:spPr>
          <a:xfrm>
            <a:off x="5992687" y="2602513"/>
            <a:ext cx="396141" cy="396775"/>
          </a:xfrm>
          <a:custGeom>
            <a:avLst/>
            <a:gdLst/>
            <a:ahLst/>
            <a:cxnLst/>
            <a:rect l="l" t="t" r="r" b="b"/>
            <a:pathLst>
              <a:path w="396875" h="397510">
                <a:moveTo>
                  <a:pt x="28828" y="0"/>
                </a:moveTo>
                <a:lnTo>
                  <a:pt x="198627" y="173354"/>
                </a:lnTo>
                <a:lnTo>
                  <a:pt x="371983" y="3428"/>
                </a:lnTo>
                <a:lnTo>
                  <a:pt x="396875" y="28955"/>
                </a:lnTo>
                <a:lnTo>
                  <a:pt x="223647" y="198754"/>
                </a:lnTo>
                <a:lnTo>
                  <a:pt x="393446" y="371982"/>
                </a:lnTo>
                <a:lnTo>
                  <a:pt x="368046" y="397001"/>
                </a:lnTo>
                <a:lnTo>
                  <a:pt x="198120" y="223774"/>
                </a:lnTo>
                <a:lnTo>
                  <a:pt x="24891" y="393572"/>
                </a:lnTo>
                <a:lnTo>
                  <a:pt x="0" y="368172"/>
                </a:lnTo>
                <a:lnTo>
                  <a:pt x="173227" y="198246"/>
                </a:lnTo>
                <a:lnTo>
                  <a:pt x="3428" y="25018"/>
                </a:lnTo>
                <a:lnTo>
                  <a:pt x="28828"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23" name="object 17"/>
          <p:cNvSpPr txBox="1"/>
          <p:nvPr/>
        </p:nvSpPr>
        <p:spPr>
          <a:xfrm>
            <a:off x="4968568" y="5828588"/>
            <a:ext cx="588064" cy="276999"/>
          </a:xfrm>
          <a:prstGeom prst="rect">
            <a:avLst/>
          </a:prstGeom>
        </p:spPr>
        <p:txBody>
          <a:bodyPr vert="horz" wrap="square" lIns="0" tIns="0" rIns="0" bIns="0" rtlCol="0">
            <a:spAutoFit/>
          </a:bodyPr>
          <a:lstStyle/>
          <a:p>
            <a:pPr marL="12677" defTabSz="912754"/>
            <a:r>
              <a:rPr spc="10" dirty="0">
                <a:solidFill>
                  <a:srgbClr val="000000"/>
                </a:solidFill>
                <a:cs typeface="Segoe UI Light"/>
              </a:rPr>
              <a:t>x</a:t>
            </a:r>
            <a:r>
              <a:rPr lang="en-US" spc="10" dirty="0">
                <a:solidFill>
                  <a:srgbClr val="000000"/>
                </a:solidFill>
                <a:cs typeface="Segoe UI Light"/>
              </a:rPr>
              <a:t>1</a:t>
            </a:r>
            <a:endParaRPr baseline="-20408" dirty="0">
              <a:solidFill>
                <a:srgbClr val="000000"/>
              </a:solidFill>
              <a:cs typeface="Segoe UI Light"/>
            </a:endParaRPr>
          </a:p>
        </p:txBody>
      </p:sp>
      <p:sp>
        <p:nvSpPr>
          <p:cNvPr id="24" name="object 18"/>
          <p:cNvSpPr txBox="1"/>
          <p:nvPr/>
        </p:nvSpPr>
        <p:spPr>
          <a:xfrm>
            <a:off x="1945858" y="2959611"/>
            <a:ext cx="387268" cy="276999"/>
          </a:xfrm>
          <a:prstGeom prst="rect">
            <a:avLst/>
          </a:prstGeom>
        </p:spPr>
        <p:txBody>
          <a:bodyPr vert="horz" wrap="square" lIns="0" tIns="0" rIns="0" bIns="0" rtlCol="0">
            <a:spAutoFit/>
          </a:bodyPr>
          <a:lstStyle/>
          <a:p>
            <a:pPr marL="12677" defTabSz="912754"/>
            <a:r>
              <a:rPr spc="10" dirty="0">
                <a:solidFill>
                  <a:srgbClr val="000000"/>
                </a:solidFill>
                <a:cs typeface="Segoe UI Light"/>
              </a:rPr>
              <a:t>x</a:t>
            </a:r>
            <a:r>
              <a:rPr spc="22" baseline="-20408" dirty="0">
                <a:solidFill>
                  <a:srgbClr val="000000"/>
                </a:solidFill>
                <a:cs typeface="Segoe UI Light"/>
              </a:rPr>
              <a:t>2</a:t>
            </a:r>
            <a:endParaRPr baseline="-20408">
              <a:solidFill>
                <a:srgbClr val="000000"/>
              </a:solidFill>
              <a:cs typeface="Segoe UI Light"/>
            </a:endParaRPr>
          </a:p>
        </p:txBody>
      </p:sp>
      <p:sp>
        <p:nvSpPr>
          <p:cNvPr id="25" name="object 19"/>
          <p:cNvSpPr/>
          <p:nvPr/>
        </p:nvSpPr>
        <p:spPr>
          <a:xfrm>
            <a:off x="2682236" y="1349185"/>
            <a:ext cx="171133" cy="4642143"/>
          </a:xfrm>
          <a:custGeom>
            <a:avLst/>
            <a:gdLst/>
            <a:ahLst/>
            <a:cxnLst/>
            <a:rect l="l" t="t" r="r" b="b"/>
            <a:pathLst>
              <a:path w="171450" h="4650740">
                <a:moveTo>
                  <a:pt x="85586" y="75757"/>
                </a:moveTo>
                <a:lnTo>
                  <a:pt x="66523" y="108411"/>
                </a:lnTo>
                <a:lnTo>
                  <a:pt x="66523" y="4650358"/>
                </a:lnTo>
                <a:lnTo>
                  <a:pt x="104623" y="4650358"/>
                </a:lnTo>
                <a:lnTo>
                  <a:pt x="104620" y="108411"/>
                </a:lnTo>
                <a:lnTo>
                  <a:pt x="85586" y="75757"/>
                </a:lnTo>
                <a:close/>
              </a:path>
              <a:path w="171450" h="4650740">
                <a:moveTo>
                  <a:pt x="85573" y="0"/>
                </a:moveTo>
                <a:lnTo>
                  <a:pt x="2439" y="142493"/>
                </a:lnTo>
                <a:lnTo>
                  <a:pt x="0" y="149689"/>
                </a:lnTo>
                <a:lnTo>
                  <a:pt x="477" y="157003"/>
                </a:lnTo>
                <a:lnTo>
                  <a:pt x="3650" y="163603"/>
                </a:lnTo>
                <a:lnTo>
                  <a:pt x="9297" y="168655"/>
                </a:lnTo>
                <a:lnTo>
                  <a:pt x="16459" y="171049"/>
                </a:lnTo>
                <a:lnTo>
                  <a:pt x="23747" y="170561"/>
                </a:lnTo>
                <a:lnTo>
                  <a:pt x="30325" y="167405"/>
                </a:lnTo>
                <a:lnTo>
                  <a:pt x="35357" y="161798"/>
                </a:lnTo>
                <a:lnTo>
                  <a:pt x="66520" y="108417"/>
                </a:lnTo>
                <a:lnTo>
                  <a:pt x="66523" y="37845"/>
                </a:lnTo>
                <a:lnTo>
                  <a:pt x="107667" y="37845"/>
                </a:lnTo>
                <a:lnTo>
                  <a:pt x="85573" y="0"/>
                </a:lnTo>
                <a:close/>
              </a:path>
              <a:path w="171450" h="4650740">
                <a:moveTo>
                  <a:pt x="107667" y="37845"/>
                </a:moveTo>
                <a:lnTo>
                  <a:pt x="104623" y="37845"/>
                </a:lnTo>
                <a:lnTo>
                  <a:pt x="104623" y="108417"/>
                </a:lnTo>
                <a:lnTo>
                  <a:pt x="135738" y="161798"/>
                </a:lnTo>
                <a:lnTo>
                  <a:pt x="140791" y="167405"/>
                </a:lnTo>
                <a:lnTo>
                  <a:pt x="147391" y="170561"/>
                </a:lnTo>
                <a:lnTo>
                  <a:pt x="154705" y="171049"/>
                </a:lnTo>
                <a:lnTo>
                  <a:pt x="161900" y="168655"/>
                </a:lnTo>
                <a:lnTo>
                  <a:pt x="167508" y="163603"/>
                </a:lnTo>
                <a:lnTo>
                  <a:pt x="170663" y="157003"/>
                </a:lnTo>
                <a:lnTo>
                  <a:pt x="171151" y="149689"/>
                </a:lnTo>
                <a:lnTo>
                  <a:pt x="168758" y="142493"/>
                </a:lnTo>
                <a:lnTo>
                  <a:pt x="107667" y="37845"/>
                </a:lnTo>
                <a:close/>
              </a:path>
              <a:path w="171450" h="4650740">
                <a:moveTo>
                  <a:pt x="104623" y="47498"/>
                </a:moveTo>
                <a:lnTo>
                  <a:pt x="102083" y="47498"/>
                </a:lnTo>
                <a:lnTo>
                  <a:pt x="85586" y="75757"/>
                </a:lnTo>
                <a:lnTo>
                  <a:pt x="104623" y="108417"/>
                </a:lnTo>
                <a:lnTo>
                  <a:pt x="104623" y="47498"/>
                </a:lnTo>
                <a:close/>
              </a:path>
              <a:path w="171450" h="4650740">
                <a:moveTo>
                  <a:pt x="104623" y="37845"/>
                </a:moveTo>
                <a:lnTo>
                  <a:pt x="66523" y="37845"/>
                </a:lnTo>
                <a:lnTo>
                  <a:pt x="66523" y="108411"/>
                </a:lnTo>
                <a:lnTo>
                  <a:pt x="85586" y="75757"/>
                </a:lnTo>
                <a:lnTo>
                  <a:pt x="69114" y="47498"/>
                </a:lnTo>
                <a:lnTo>
                  <a:pt x="104623" y="47498"/>
                </a:lnTo>
                <a:lnTo>
                  <a:pt x="104623" y="37845"/>
                </a:lnTo>
                <a:close/>
              </a:path>
              <a:path w="171450" h="4650740">
                <a:moveTo>
                  <a:pt x="102083" y="47498"/>
                </a:moveTo>
                <a:lnTo>
                  <a:pt x="69114" y="47498"/>
                </a:lnTo>
                <a:lnTo>
                  <a:pt x="85586" y="75757"/>
                </a:lnTo>
                <a:lnTo>
                  <a:pt x="102083" y="47498"/>
                </a:lnTo>
                <a:close/>
              </a:path>
            </a:pathLst>
          </a:custGeom>
          <a:solidFill>
            <a:srgbClr val="000000"/>
          </a:solidFill>
        </p:spPr>
        <p:txBody>
          <a:bodyPr wrap="square" lIns="0" tIns="0" rIns="0" bIns="0" rtlCol="0"/>
          <a:lstStyle/>
          <a:p>
            <a:pPr defTabSz="912754"/>
            <a:endParaRPr>
              <a:solidFill>
                <a:srgbClr val="000000"/>
              </a:solidFill>
            </a:endParaRPr>
          </a:p>
        </p:txBody>
      </p:sp>
      <p:sp>
        <p:nvSpPr>
          <p:cNvPr id="26" name="object 20"/>
          <p:cNvSpPr/>
          <p:nvPr/>
        </p:nvSpPr>
        <p:spPr>
          <a:xfrm>
            <a:off x="2515134" y="5549064"/>
            <a:ext cx="5191037" cy="171133"/>
          </a:xfrm>
          <a:custGeom>
            <a:avLst/>
            <a:gdLst/>
            <a:ahLst/>
            <a:cxnLst/>
            <a:rect l="l" t="t" r="r" b="b"/>
            <a:pathLst>
              <a:path w="5200650" h="171450">
                <a:moveTo>
                  <a:pt x="5124722" y="85578"/>
                </a:moveTo>
                <a:lnTo>
                  <a:pt x="5038725" y="135743"/>
                </a:lnTo>
                <a:lnTo>
                  <a:pt x="5033045" y="140795"/>
                </a:lnTo>
                <a:lnTo>
                  <a:pt x="5029866" y="147395"/>
                </a:lnTo>
                <a:lnTo>
                  <a:pt x="5029402" y="154709"/>
                </a:lnTo>
                <a:lnTo>
                  <a:pt x="5031867" y="161905"/>
                </a:lnTo>
                <a:lnTo>
                  <a:pt x="5036899" y="167513"/>
                </a:lnTo>
                <a:lnTo>
                  <a:pt x="5043455" y="170668"/>
                </a:lnTo>
                <a:lnTo>
                  <a:pt x="5050726" y="171156"/>
                </a:lnTo>
                <a:lnTo>
                  <a:pt x="5057902" y="168763"/>
                </a:lnTo>
                <a:lnTo>
                  <a:pt x="5167763" y="104628"/>
                </a:lnTo>
                <a:lnTo>
                  <a:pt x="5162677" y="104628"/>
                </a:lnTo>
                <a:lnTo>
                  <a:pt x="5162677" y="102088"/>
                </a:lnTo>
                <a:lnTo>
                  <a:pt x="5153025" y="102088"/>
                </a:lnTo>
                <a:lnTo>
                  <a:pt x="5124722" y="85578"/>
                </a:lnTo>
                <a:close/>
              </a:path>
              <a:path w="5200650" h="171450">
                <a:moveTo>
                  <a:pt x="5092065" y="66528"/>
                </a:moveTo>
                <a:lnTo>
                  <a:pt x="0" y="66528"/>
                </a:lnTo>
                <a:lnTo>
                  <a:pt x="0" y="104628"/>
                </a:lnTo>
                <a:lnTo>
                  <a:pt x="5092065" y="104628"/>
                </a:lnTo>
                <a:lnTo>
                  <a:pt x="5124722" y="85578"/>
                </a:lnTo>
                <a:lnTo>
                  <a:pt x="5092065" y="66528"/>
                </a:lnTo>
                <a:close/>
              </a:path>
              <a:path w="5200650" h="171450">
                <a:moveTo>
                  <a:pt x="5167763" y="66528"/>
                </a:moveTo>
                <a:lnTo>
                  <a:pt x="5162677" y="66528"/>
                </a:lnTo>
                <a:lnTo>
                  <a:pt x="5162677" y="104628"/>
                </a:lnTo>
                <a:lnTo>
                  <a:pt x="5167763" y="104628"/>
                </a:lnTo>
                <a:lnTo>
                  <a:pt x="5200396" y="85578"/>
                </a:lnTo>
                <a:lnTo>
                  <a:pt x="5167763" y="66528"/>
                </a:lnTo>
                <a:close/>
              </a:path>
              <a:path w="5200650" h="171450">
                <a:moveTo>
                  <a:pt x="5153025" y="69068"/>
                </a:moveTo>
                <a:lnTo>
                  <a:pt x="5124722" y="85578"/>
                </a:lnTo>
                <a:lnTo>
                  <a:pt x="5153025" y="102088"/>
                </a:lnTo>
                <a:lnTo>
                  <a:pt x="5153025" y="69068"/>
                </a:lnTo>
                <a:close/>
              </a:path>
              <a:path w="5200650" h="171450">
                <a:moveTo>
                  <a:pt x="5162677" y="69068"/>
                </a:moveTo>
                <a:lnTo>
                  <a:pt x="5153025" y="69068"/>
                </a:lnTo>
                <a:lnTo>
                  <a:pt x="5153025" y="102088"/>
                </a:lnTo>
                <a:lnTo>
                  <a:pt x="5162677" y="102088"/>
                </a:lnTo>
                <a:lnTo>
                  <a:pt x="5162677" y="69068"/>
                </a:lnTo>
                <a:close/>
              </a:path>
              <a:path w="5200650" h="171450">
                <a:moveTo>
                  <a:pt x="5050726" y="0"/>
                </a:moveTo>
                <a:lnTo>
                  <a:pt x="5043455" y="488"/>
                </a:lnTo>
                <a:lnTo>
                  <a:pt x="5036899" y="3643"/>
                </a:lnTo>
                <a:lnTo>
                  <a:pt x="5031867" y="9251"/>
                </a:lnTo>
                <a:lnTo>
                  <a:pt x="5029402" y="16446"/>
                </a:lnTo>
                <a:lnTo>
                  <a:pt x="5029866" y="23760"/>
                </a:lnTo>
                <a:lnTo>
                  <a:pt x="5033045" y="30360"/>
                </a:lnTo>
                <a:lnTo>
                  <a:pt x="5038725" y="35413"/>
                </a:lnTo>
                <a:lnTo>
                  <a:pt x="5124722" y="85578"/>
                </a:lnTo>
                <a:lnTo>
                  <a:pt x="5153025" y="69068"/>
                </a:lnTo>
                <a:lnTo>
                  <a:pt x="5162677" y="69068"/>
                </a:lnTo>
                <a:lnTo>
                  <a:pt x="5162677" y="66528"/>
                </a:lnTo>
                <a:lnTo>
                  <a:pt x="5167763" y="66528"/>
                </a:lnTo>
                <a:lnTo>
                  <a:pt x="5057902" y="2393"/>
                </a:lnTo>
                <a:lnTo>
                  <a:pt x="5050726" y="0"/>
                </a:lnTo>
                <a:close/>
              </a:path>
            </a:pathLst>
          </a:custGeom>
          <a:solidFill>
            <a:srgbClr val="000000"/>
          </a:solidFill>
        </p:spPr>
        <p:txBody>
          <a:bodyPr wrap="square" lIns="0" tIns="0" rIns="0" bIns="0" rtlCol="0"/>
          <a:lstStyle/>
          <a:p>
            <a:pPr defTabSz="912754"/>
            <a:endParaRPr>
              <a:solidFill>
                <a:srgbClr val="000000"/>
              </a:solidFill>
            </a:endParaRPr>
          </a:p>
        </p:txBody>
      </p:sp>
      <p:sp>
        <p:nvSpPr>
          <p:cNvPr id="27" name="object 21"/>
          <p:cNvSpPr/>
          <p:nvPr/>
        </p:nvSpPr>
        <p:spPr>
          <a:xfrm>
            <a:off x="4623494" y="4870850"/>
            <a:ext cx="397409" cy="397409"/>
          </a:xfrm>
          <a:custGeom>
            <a:avLst/>
            <a:gdLst/>
            <a:ahLst/>
            <a:cxnLst/>
            <a:rect l="l" t="t" r="r" b="b"/>
            <a:pathLst>
              <a:path w="398145" h="398145">
                <a:moveTo>
                  <a:pt x="0" y="198881"/>
                </a:moveTo>
                <a:lnTo>
                  <a:pt x="5251" y="153275"/>
                </a:lnTo>
                <a:lnTo>
                  <a:pt x="20211" y="111411"/>
                </a:lnTo>
                <a:lnTo>
                  <a:pt x="43687" y="74484"/>
                </a:lnTo>
                <a:lnTo>
                  <a:pt x="74484" y="43687"/>
                </a:lnTo>
                <a:lnTo>
                  <a:pt x="111411" y="20211"/>
                </a:lnTo>
                <a:lnTo>
                  <a:pt x="153275" y="5251"/>
                </a:lnTo>
                <a:lnTo>
                  <a:pt x="198882" y="0"/>
                </a:lnTo>
                <a:lnTo>
                  <a:pt x="244488" y="5251"/>
                </a:lnTo>
                <a:lnTo>
                  <a:pt x="286352" y="20211"/>
                </a:lnTo>
                <a:lnTo>
                  <a:pt x="323279" y="43687"/>
                </a:lnTo>
                <a:lnTo>
                  <a:pt x="354076" y="74484"/>
                </a:lnTo>
                <a:lnTo>
                  <a:pt x="377552" y="111411"/>
                </a:lnTo>
                <a:lnTo>
                  <a:pt x="392512" y="153275"/>
                </a:lnTo>
                <a:lnTo>
                  <a:pt x="397763" y="198881"/>
                </a:lnTo>
                <a:lnTo>
                  <a:pt x="392512" y="244488"/>
                </a:lnTo>
                <a:lnTo>
                  <a:pt x="377552" y="286352"/>
                </a:lnTo>
                <a:lnTo>
                  <a:pt x="354076" y="323279"/>
                </a:lnTo>
                <a:lnTo>
                  <a:pt x="323279" y="354076"/>
                </a:lnTo>
                <a:lnTo>
                  <a:pt x="286352" y="377552"/>
                </a:lnTo>
                <a:lnTo>
                  <a:pt x="244488" y="392512"/>
                </a:lnTo>
                <a:lnTo>
                  <a:pt x="198882" y="397763"/>
                </a:lnTo>
                <a:lnTo>
                  <a:pt x="153275" y="392512"/>
                </a:lnTo>
                <a:lnTo>
                  <a:pt x="111411" y="377552"/>
                </a:lnTo>
                <a:lnTo>
                  <a:pt x="74484" y="354076"/>
                </a:lnTo>
                <a:lnTo>
                  <a:pt x="43687" y="323279"/>
                </a:lnTo>
                <a:lnTo>
                  <a:pt x="20211" y="286352"/>
                </a:lnTo>
                <a:lnTo>
                  <a:pt x="5251" y="244488"/>
                </a:lnTo>
                <a:lnTo>
                  <a:pt x="0" y="198881"/>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28" name="object 22"/>
          <p:cNvSpPr/>
          <p:nvPr/>
        </p:nvSpPr>
        <p:spPr>
          <a:xfrm>
            <a:off x="2989745" y="3370964"/>
            <a:ext cx="397409" cy="397409"/>
          </a:xfrm>
          <a:custGeom>
            <a:avLst/>
            <a:gdLst/>
            <a:ahLst/>
            <a:cxnLst/>
            <a:rect l="l" t="t" r="r" b="b"/>
            <a:pathLst>
              <a:path w="398144" h="398145">
                <a:moveTo>
                  <a:pt x="0" y="198881"/>
                </a:moveTo>
                <a:lnTo>
                  <a:pt x="5251" y="153275"/>
                </a:lnTo>
                <a:lnTo>
                  <a:pt x="20211" y="111411"/>
                </a:lnTo>
                <a:lnTo>
                  <a:pt x="43687" y="74484"/>
                </a:lnTo>
                <a:lnTo>
                  <a:pt x="74484" y="43687"/>
                </a:lnTo>
                <a:lnTo>
                  <a:pt x="111411" y="20211"/>
                </a:lnTo>
                <a:lnTo>
                  <a:pt x="153275" y="5251"/>
                </a:lnTo>
                <a:lnTo>
                  <a:pt x="198881" y="0"/>
                </a:lnTo>
                <a:lnTo>
                  <a:pt x="244488" y="5251"/>
                </a:lnTo>
                <a:lnTo>
                  <a:pt x="286352" y="20211"/>
                </a:lnTo>
                <a:lnTo>
                  <a:pt x="323279" y="43687"/>
                </a:lnTo>
                <a:lnTo>
                  <a:pt x="354076" y="74484"/>
                </a:lnTo>
                <a:lnTo>
                  <a:pt x="377552" y="111411"/>
                </a:lnTo>
                <a:lnTo>
                  <a:pt x="392512" y="153275"/>
                </a:lnTo>
                <a:lnTo>
                  <a:pt x="397763" y="198881"/>
                </a:lnTo>
                <a:lnTo>
                  <a:pt x="392512" y="244488"/>
                </a:lnTo>
                <a:lnTo>
                  <a:pt x="377552" y="286352"/>
                </a:lnTo>
                <a:lnTo>
                  <a:pt x="354076" y="323279"/>
                </a:lnTo>
                <a:lnTo>
                  <a:pt x="323279" y="354076"/>
                </a:lnTo>
                <a:lnTo>
                  <a:pt x="286352" y="377552"/>
                </a:lnTo>
                <a:lnTo>
                  <a:pt x="244488" y="392512"/>
                </a:lnTo>
                <a:lnTo>
                  <a:pt x="198881" y="397763"/>
                </a:lnTo>
                <a:lnTo>
                  <a:pt x="153275" y="392512"/>
                </a:lnTo>
                <a:lnTo>
                  <a:pt x="111411" y="377552"/>
                </a:lnTo>
                <a:lnTo>
                  <a:pt x="74484" y="354076"/>
                </a:lnTo>
                <a:lnTo>
                  <a:pt x="43687" y="323279"/>
                </a:lnTo>
                <a:lnTo>
                  <a:pt x="20211" y="286352"/>
                </a:lnTo>
                <a:lnTo>
                  <a:pt x="5251" y="244488"/>
                </a:lnTo>
                <a:lnTo>
                  <a:pt x="0" y="198881"/>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29" name="object 23"/>
          <p:cNvSpPr/>
          <p:nvPr/>
        </p:nvSpPr>
        <p:spPr>
          <a:xfrm>
            <a:off x="3190540" y="4752197"/>
            <a:ext cx="395508" cy="395508"/>
          </a:xfrm>
          <a:custGeom>
            <a:avLst/>
            <a:gdLst/>
            <a:ahLst/>
            <a:cxnLst/>
            <a:rect l="l" t="t" r="r" b="b"/>
            <a:pathLst>
              <a:path w="396239" h="396239">
                <a:moveTo>
                  <a:pt x="0" y="198119"/>
                </a:moveTo>
                <a:lnTo>
                  <a:pt x="5229" y="152675"/>
                </a:lnTo>
                <a:lnTo>
                  <a:pt x="20127" y="110967"/>
                </a:lnTo>
                <a:lnTo>
                  <a:pt x="43507" y="74182"/>
                </a:lnTo>
                <a:lnTo>
                  <a:pt x="74182" y="43507"/>
                </a:lnTo>
                <a:lnTo>
                  <a:pt x="110967" y="20127"/>
                </a:lnTo>
                <a:lnTo>
                  <a:pt x="152675" y="5229"/>
                </a:lnTo>
                <a:lnTo>
                  <a:pt x="198119" y="0"/>
                </a:lnTo>
                <a:lnTo>
                  <a:pt x="243564" y="5229"/>
                </a:lnTo>
                <a:lnTo>
                  <a:pt x="285272" y="20127"/>
                </a:lnTo>
                <a:lnTo>
                  <a:pt x="322057" y="43507"/>
                </a:lnTo>
                <a:lnTo>
                  <a:pt x="352732" y="74182"/>
                </a:lnTo>
                <a:lnTo>
                  <a:pt x="376112" y="110967"/>
                </a:lnTo>
                <a:lnTo>
                  <a:pt x="391010" y="152675"/>
                </a:lnTo>
                <a:lnTo>
                  <a:pt x="396239" y="198119"/>
                </a:lnTo>
                <a:lnTo>
                  <a:pt x="391010" y="243564"/>
                </a:lnTo>
                <a:lnTo>
                  <a:pt x="376112" y="285272"/>
                </a:lnTo>
                <a:lnTo>
                  <a:pt x="352732" y="322057"/>
                </a:lnTo>
                <a:lnTo>
                  <a:pt x="322057" y="352732"/>
                </a:lnTo>
                <a:lnTo>
                  <a:pt x="285272" y="376112"/>
                </a:lnTo>
                <a:lnTo>
                  <a:pt x="243564" y="391010"/>
                </a:lnTo>
                <a:lnTo>
                  <a:pt x="198119" y="396239"/>
                </a:lnTo>
                <a:lnTo>
                  <a:pt x="152675" y="391010"/>
                </a:lnTo>
                <a:lnTo>
                  <a:pt x="110967" y="376112"/>
                </a:lnTo>
                <a:lnTo>
                  <a:pt x="74182" y="352732"/>
                </a:lnTo>
                <a:lnTo>
                  <a:pt x="43507" y="322057"/>
                </a:lnTo>
                <a:lnTo>
                  <a:pt x="20127" y="285272"/>
                </a:lnTo>
                <a:lnTo>
                  <a:pt x="5229" y="243564"/>
                </a:lnTo>
                <a:lnTo>
                  <a:pt x="0" y="198119"/>
                </a:lnTo>
                <a:close/>
              </a:path>
            </a:pathLst>
          </a:custGeom>
          <a:ln w="44196">
            <a:solidFill>
              <a:srgbClr val="FF9B66"/>
            </a:solidFill>
          </a:ln>
        </p:spPr>
        <p:txBody>
          <a:bodyPr wrap="square" lIns="0" tIns="0" rIns="0" bIns="0" rtlCol="0"/>
          <a:lstStyle/>
          <a:p>
            <a:pPr defTabSz="912754"/>
            <a:endParaRPr>
              <a:solidFill>
                <a:srgbClr val="000000"/>
              </a:solidFill>
            </a:endParaRPr>
          </a:p>
        </p:txBody>
      </p:sp>
      <p:sp>
        <p:nvSpPr>
          <p:cNvPr id="30" name="object 24"/>
          <p:cNvSpPr/>
          <p:nvPr/>
        </p:nvSpPr>
        <p:spPr>
          <a:xfrm>
            <a:off x="4530450" y="2322869"/>
            <a:ext cx="396141" cy="396775"/>
          </a:xfrm>
          <a:custGeom>
            <a:avLst/>
            <a:gdLst/>
            <a:ahLst/>
            <a:cxnLst/>
            <a:rect l="l" t="t" r="r" b="b"/>
            <a:pathLst>
              <a:path w="396875" h="397510">
                <a:moveTo>
                  <a:pt x="248046" y="223646"/>
                </a:moveTo>
                <a:lnTo>
                  <a:pt x="198247" y="223646"/>
                </a:lnTo>
                <a:lnTo>
                  <a:pt x="368045" y="397001"/>
                </a:lnTo>
                <a:lnTo>
                  <a:pt x="393445" y="371982"/>
                </a:lnTo>
                <a:lnTo>
                  <a:pt x="248046" y="223646"/>
                </a:lnTo>
                <a:close/>
              </a:path>
              <a:path w="396875" h="397510">
                <a:moveTo>
                  <a:pt x="28829" y="0"/>
                </a:moveTo>
                <a:lnTo>
                  <a:pt x="3429" y="25018"/>
                </a:lnTo>
                <a:lnTo>
                  <a:pt x="173228" y="198246"/>
                </a:lnTo>
                <a:lnTo>
                  <a:pt x="0" y="368045"/>
                </a:lnTo>
                <a:lnTo>
                  <a:pt x="24892" y="393573"/>
                </a:lnTo>
                <a:lnTo>
                  <a:pt x="198247" y="223646"/>
                </a:lnTo>
                <a:lnTo>
                  <a:pt x="248046" y="223646"/>
                </a:lnTo>
                <a:lnTo>
                  <a:pt x="223646" y="198754"/>
                </a:lnTo>
                <a:lnTo>
                  <a:pt x="249559" y="173354"/>
                </a:lnTo>
                <a:lnTo>
                  <a:pt x="198755" y="173354"/>
                </a:lnTo>
                <a:lnTo>
                  <a:pt x="28829" y="0"/>
                </a:lnTo>
                <a:close/>
              </a:path>
              <a:path w="396875" h="397510">
                <a:moveTo>
                  <a:pt x="371982" y="3428"/>
                </a:moveTo>
                <a:lnTo>
                  <a:pt x="198755" y="173354"/>
                </a:lnTo>
                <a:lnTo>
                  <a:pt x="249559" y="173354"/>
                </a:lnTo>
                <a:lnTo>
                  <a:pt x="396875" y="28955"/>
                </a:lnTo>
                <a:lnTo>
                  <a:pt x="371982" y="3428"/>
                </a:lnTo>
                <a:close/>
              </a:path>
            </a:pathLst>
          </a:custGeom>
          <a:solidFill>
            <a:srgbClr val="000000"/>
          </a:solidFill>
        </p:spPr>
        <p:txBody>
          <a:bodyPr wrap="square" lIns="0" tIns="0" rIns="0" bIns="0" rtlCol="0"/>
          <a:lstStyle/>
          <a:p>
            <a:pPr defTabSz="912754"/>
            <a:endParaRPr>
              <a:solidFill>
                <a:srgbClr val="000000"/>
              </a:solidFill>
            </a:endParaRPr>
          </a:p>
        </p:txBody>
      </p:sp>
      <p:sp>
        <p:nvSpPr>
          <p:cNvPr id="31" name="object 25"/>
          <p:cNvSpPr/>
          <p:nvPr/>
        </p:nvSpPr>
        <p:spPr>
          <a:xfrm>
            <a:off x="4530450" y="2322869"/>
            <a:ext cx="396141" cy="396775"/>
          </a:xfrm>
          <a:custGeom>
            <a:avLst/>
            <a:gdLst/>
            <a:ahLst/>
            <a:cxnLst/>
            <a:rect l="l" t="t" r="r" b="b"/>
            <a:pathLst>
              <a:path w="396875" h="397510">
                <a:moveTo>
                  <a:pt x="28829" y="0"/>
                </a:moveTo>
                <a:lnTo>
                  <a:pt x="198755" y="173354"/>
                </a:lnTo>
                <a:lnTo>
                  <a:pt x="371982" y="3428"/>
                </a:lnTo>
                <a:lnTo>
                  <a:pt x="396875" y="28955"/>
                </a:lnTo>
                <a:lnTo>
                  <a:pt x="223646" y="198754"/>
                </a:lnTo>
                <a:lnTo>
                  <a:pt x="393445" y="371982"/>
                </a:lnTo>
                <a:lnTo>
                  <a:pt x="368045" y="397001"/>
                </a:lnTo>
                <a:lnTo>
                  <a:pt x="198247" y="223646"/>
                </a:lnTo>
                <a:lnTo>
                  <a:pt x="24892" y="393573"/>
                </a:lnTo>
                <a:lnTo>
                  <a:pt x="0" y="368045"/>
                </a:lnTo>
                <a:lnTo>
                  <a:pt x="173228" y="198246"/>
                </a:lnTo>
                <a:lnTo>
                  <a:pt x="3429" y="25018"/>
                </a:lnTo>
                <a:lnTo>
                  <a:pt x="28829"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32" name="object 26"/>
          <p:cNvSpPr/>
          <p:nvPr/>
        </p:nvSpPr>
        <p:spPr>
          <a:xfrm>
            <a:off x="5432891" y="1908980"/>
            <a:ext cx="396775" cy="396775"/>
          </a:xfrm>
          <a:custGeom>
            <a:avLst/>
            <a:gdLst/>
            <a:ahLst/>
            <a:cxnLst/>
            <a:rect l="l" t="t" r="r" b="b"/>
            <a:pathLst>
              <a:path w="397510" h="397510">
                <a:moveTo>
                  <a:pt x="248173" y="223647"/>
                </a:moveTo>
                <a:lnTo>
                  <a:pt x="198246" y="223647"/>
                </a:lnTo>
                <a:lnTo>
                  <a:pt x="368172" y="397001"/>
                </a:lnTo>
                <a:lnTo>
                  <a:pt x="393572" y="371983"/>
                </a:lnTo>
                <a:lnTo>
                  <a:pt x="248173" y="223647"/>
                </a:lnTo>
                <a:close/>
              </a:path>
              <a:path w="397510" h="397510">
                <a:moveTo>
                  <a:pt x="28955" y="0"/>
                </a:moveTo>
                <a:lnTo>
                  <a:pt x="3428" y="25019"/>
                </a:lnTo>
                <a:lnTo>
                  <a:pt x="173354" y="198247"/>
                </a:lnTo>
                <a:lnTo>
                  <a:pt x="0" y="368046"/>
                </a:lnTo>
                <a:lnTo>
                  <a:pt x="25018" y="393573"/>
                </a:lnTo>
                <a:lnTo>
                  <a:pt x="198246" y="223647"/>
                </a:lnTo>
                <a:lnTo>
                  <a:pt x="248173" y="223647"/>
                </a:lnTo>
                <a:lnTo>
                  <a:pt x="223773" y="198755"/>
                </a:lnTo>
                <a:lnTo>
                  <a:pt x="249816" y="173228"/>
                </a:lnTo>
                <a:lnTo>
                  <a:pt x="198754" y="173228"/>
                </a:lnTo>
                <a:lnTo>
                  <a:pt x="28955" y="0"/>
                </a:lnTo>
                <a:close/>
              </a:path>
              <a:path w="397510" h="397510">
                <a:moveTo>
                  <a:pt x="371982" y="3429"/>
                </a:moveTo>
                <a:lnTo>
                  <a:pt x="198754" y="173228"/>
                </a:lnTo>
                <a:lnTo>
                  <a:pt x="249816" y="173228"/>
                </a:lnTo>
                <a:lnTo>
                  <a:pt x="397001" y="28956"/>
                </a:lnTo>
                <a:lnTo>
                  <a:pt x="371982" y="3429"/>
                </a:lnTo>
                <a:close/>
              </a:path>
            </a:pathLst>
          </a:custGeom>
          <a:solidFill>
            <a:srgbClr val="000000"/>
          </a:solidFill>
        </p:spPr>
        <p:txBody>
          <a:bodyPr wrap="square" lIns="0" tIns="0" rIns="0" bIns="0" rtlCol="0"/>
          <a:lstStyle/>
          <a:p>
            <a:pPr defTabSz="912754"/>
            <a:endParaRPr>
              <a:solidFill>
                <a:srgbClr val="000000"/>
              </a:solidFill>
            </a:endParaRPr>
          </a:p>
        </p:txBody>
      </p:sp>
      <p:sp>
        <p:nvSpPr>
          <p:cNvPr id="33" name="object 27"/>
          <p:cNvSpPr/>
          <p:nvPr/>
        </p:nvSpPr>
        <p:spPr>
          <a:xfrm>
            <a:off x="5432891" y="1908980"/>
            <a:ext cx="396775" cy="396775"/>
          </a:xfrm>
          <a:custGeom>
            <a:avLst/>
            <a:gdLst/>
            <a:ahLst/>
            <a:cxnLst/>
            <a:rect l="l" t="t" r="r" b="b"/>
            <a:pathLst>
              <a:path w="397510" h="397510">
                <a:moveTo>
                  <a:pt x="28955" y="0"/>
                </a:moveTo>
                <a:lnTo>
                  <a:pt x="198754" y="173228"/>
                </a:lnTo>
                <a:lnTo>
                  <a:pt x="371982" y="3429"/>
                </a:lnTo>
                <a:lnTo>
                  <a:pt x="397001" y="28956"/>
                </a:lnTo>
                <a:lnTo>
                  <a:pt x="223773" y="198755"/>
                </a:lnTo>
                <a:lnTo>
                  <a:pt x="393572" y="371983"/>
                </a:lnTo>
                <a:lnTo>
                  <a:pt x="368172" y="397001"/>
                </a:lnTo>
                <a:lnTo>
                  <a:pt x="198246" y="223647"/>
                </a:lnTo>
                <a:lnTo>
                  <a:pt x="25018" y="393573"/>
                </a:lnTo>
                <a:lnTo>
                  <a:pt x="0" y="368046"/>
                </a:lnTo>
                <a:lnTo>
                  <a:pt x="173354" y="198247"/>
                </a:lnTo>
                <a:lnTo>
                  <a:pt x="3428" y="25019"/>
                </a:lnTo>
                <a:lnTo>
                  <a:pt x="28955"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34" name="object 28"/>
          <p:cNvSpPr/>
          <p:nvPr/>
        </p:nvSpPr>
        <p:spPr>
          <a:xfrm>
            <a:off x="4674580" y="1873866"/>
            <a:ext cx="396775" cy="396775"/>
          </a:xfrm>
          <a:custGeom>
            <a:avLst/>
            <a:gdLst/>
            <a:ahLst/>
            <a:cxnLst/>
            <a:rect l="l" t="t" r="r" b="b"/>
            <a:pathLst>
              <a:path w="397510" h="397510">
                <a:moveTo>
                  <a:pt x="248173" y="223647"/>
                </a:moveTo>
                <a:lnTo>
                  <a:pt x="198246" y="223647"/>
                </a:lnTo>
                <a:lnTo>
                  <a:pt x="368172" y="397001"/>
                </a:lnTo>
                <a:lnTo>
                  <a:pt x="393572" y="371983"/>
                </a:lnTo>
                <a:lnTo>
                  <a:pt x="248173" y="223647"/>
                </a:lnTo>
                <a:close/>
              </a:path>
              <a:path w="397510" h="397510">
                <a:moveTo>
                  <a:pt x="28956" y="0"/>
                </a:moveTo>
                <a:lnTo>
                  <a:pt x="3429" y="24891"/>
                </a:lnTo>
                <a:lnTo>
                  <a:pt x="173355" y="198247"/>
                </a:lnTo>
                <a:lnTo>
                  <a:pt x="0" y="368046"/>
                </a:lnTo>
                <a:lnTo>
                  <a:pt x="25018" y="393573"/>
                </a:lnTo>
                <a:lnTo>
                  <a:pt x="198246" y="223647"/>
                </a:lnTo>
                <a:lnTo>
                  <a:pt x="248173" y="223647"/>
                </a:lnTo>
                <a:lnTo>
                  <a:pt x="223773" y="198754"/>
                </a:lnTo>
                <a:lnTo>
                  <a:pt x="249797" y="173227"/>
                </a:lnTo>
                <a:lnTo>
                  <a:pt x="198755" y="173227"/>
                </a:lnTo>
                <a:lnTo>
                  <a:pt x="28956" y="0"/>
                </a:lnTo>
                <a:close/>
              </a:path>
              <a:path w="397510" h="397510">
                <a:moveTo>
                  <a:pt x="371982" y="3428"/>
                </a:moveTo>
                <a:lnTo>
                  <a:pt x="198755" y="173227"/>
                </a:lnTo>
                <a:lnTo>
                  <a:pt x="249797" y="173227"/>
                </a:lnTo>
                <a:lnTo>
                  <a:pt x="397002" y="28828"/>
                </a:lnTo>
                <a:lnTo>
                  <a:pt x="371982" y="3428"/>
                </a:lnTo>
                <a:close/>
              </a:path>
            </a:pathLst>
          </a:custGeom>
          <a:solidFill>
            <a:srgbClr val="000000"/>
          </a:solidFill>
        </p:spPr>
        <p:txBody>
          <a:bodyPr wrap="square" lIns="0" tIns="0" rIns="0" bIns="0" rtlCol="0"/>
          <a:lstStyle/>
          <a:p>
            <a:pPr defTabSz="912754"/>
            <a:endParaRPr>
              <a:solidFill>
                <a:srgbClr val="000000"/>
              </a:solidFill>
            </a:endParaRPr>
          </a:p>
        </p:txBody>
      </p:sp>
      <p:sp>
        <p:nvSpPr>
          <p:cNvPr id="35" name="object 29"/>
          <p:cNvSpPr/>
          <p:nvPr/>
        </p:nvSpPr>
        <p:spPr>
          <a:xfrm>
            <a:off x="4674580" y="1873866"/>
            <a:ext cx="396775" cy="396775"/>
          </a:xfrm>
          <a:custGeom>
            <a:avLst/>
            <a:gdLst/>
            <a:ahLst/>
            <a:cxnLst/>
            <a:rect l="l" t="t" r="r" b="b"/>
            <a:pathLst>
              <a:path w="397510" h="397510">
                <a:moveTo>
                  <a:pt x="28956" y="0"/>
                </a:moveTo>
                <a:lnTo>
                  <a:pt x="198755" y="173227"/>
                </a:lnTo>
                <a:lnTo>
                  <a:pt x="371982" y="3428"/>
                </a:lnTo>
                <a:lnTo>
                  <a:pt x="397002" y="28828"/>
                </a:lnTo>
                <a:lnTo>
                  <a:pt x="223773" y="198754"/>
                </a:lnTo>
                <a:lnTo>
                  <a:pt x="393572" y="371983"/>
                </a:lnTo>
                <a:lnTo>
                  <a:pt x="368172" y="397001"/>
                </a:lnTo>
                <a:lnTo>
                  <a:pt x="198246" y="223647"/>
                </a:lnTo>
                <a:lnTo>
                  <a:pt x="25018" y="393573"/>
                </a:lnTo>
                <a:lnTo>
                  <a:pt x="0" y="368046"/>
                </a:lnTo>
                <a:lnTo>
                  <a:pt x="173355" y="198247"/>
                </a:lnTo>
                <a:lnTo>
                  <a:pt x="3429" y="24891"/>
                </a:lnTo>
                <a:lnTo>
                  <a:pt x="28956" y="0"/>
                </a:lnTo>
                <a:close/>
              </a:path>
            </a:pathLst>
          </a:custGeom>
          <a:ln w="38100">
            <a:solidFill>
              <a:srgbClr val="FF0000"/>
            </a:solidFill>
          </a:ln>
        </p:spPr>
        <p:txBody>
          <a:bodyPr wrap="square" lIns="0" tIns="0" rIns="0" bIns="0" rtlCol="0"/>
          <a:lstStyle/>
          <a:p>
            <a:pPr defTabSz="912754"/>
            <a:endParaRPr>
              <a:solidFill>
                <a:srgbClr val="000000"/>
              </a:solidFill>
            </a:endParaRPr>
          </a:p>
        </p:txBody>
      </p:sp>
      <p:sp>
        <p:nvSpPr>
          <p:cNvPr id="36" name="object 30"/>
          <p:cNvSpPr/>
          <p:nvPr/>
        </p:nvSpPr>
        <p:spPr>
          <a:xfrm>
            <a:off x="3764025" y="5500620"/>
            <a:ext cx="0" cy="309941"/>
          </a:xfrm>
          <a:custGeom>
            <a:avLst/>
            <a:gdLst/>
            <a:ahLst/>
            <a:cxnLst/>
            <a:rect l="l" t="t" r="r" b="b"/>
            <a:pathLst>
              <a:path h="310514">
                <a:moveTo>
                  <a:pt x="0" y="0"/>
                </a:moveTo>
                <a:lnTo>
                  <a:pt x="0" y="310515"/>
                </a:lnTo>
              </a:path>
            </a:pathLst>
          </a:custGeom>
          <a:ln w="38100">
            <a:solidFill>
              <a:srgbClr val="000000"/>
            </a:solidFill>
          </a:ln>
        </p:spPr>
        <p:txBody>
          <a:bodyPr wrap="square" lIns="0" tIns="0" rIns="0" bIns="0" rtlCol="0"/>
          <a:lstStyle/>
          <a:p>
            <a:pPr defTabSz="912754"/>
            <a:endParaRPr>
              <a:solidFill>
                <a:srgbClr val="000000"/>
              </a:solidFill>
            </a:endParaRPr>
          </a:p>
        </p:txBody>
      </p:sp>
      <p:sp>
        <p:nvSpPr>
          <p:cNvPr id="37" name="object 31"/>
          <p:cNvSpPr/>
          <p:nvPr/>
        </p:nvSpPr>
        <p:spPr>
          <a:xfrm>
            <a:off x="5060074" y="5500620"/>
            <a:ext cx="0" cy="309941"/>
          </a:xfrm>
          <a:custGeom>
            <a:avLst/>
            <a:gdLst/>
            <a:ahLst/>
            <a:cxnLst/>
            <a:rect l="l" t="t" r="r" b="b"/>
            <a:pathLst>
              <a:path h="310514">
                <a:moveTo>
                  <a:pt x="0" y="0"/>
                </a:moveTo>
                <a:lnTo>
                  <a:pt x="0" y="310515"/>
                </a:lnTo>
              </a:path>
            </a:pathLst>
          </a:custGeom>
          <a:ln w="38100">
            <a:solidFill>
              <a:srgbClr val="000000"/>
            </a:solidFill>
          </a:ln>
        </p:spPr>
        <p:txBody>
          <a:bodyPr wrap="square" lIns="0" tIns="0" rIns="0" bIns="0" rtlCol="0"/>
          <a:lstStyle/>
          <a:p>
            <a:pPr defTabSz="912754"/>
            <a:endParaRPr>
              <a:solidFill>
                <a:srgbClr val="000000"/>
              </a:solidFill>
            </a:endParaRPr>
          </a:p>
        </p:txBody>
      </p:sp>
      <p:sp>
        <p:nvSpPr>
          <p:cNvPr id="38" name="object 32"/>
          <p:cNvSpPr/>
          <p:nvPr/>
        </p:nvSpPr>
        <p:spPr>
          <a:xfrm>
            <a:off x="6167495" y="5500620"/>
            <a:ext cx="0" cy="309941"/>
          </a:xfrm>
          <a:custGeom>
            <a:avLst/>
            <a:gdLst/>
            <a:ahLst/>
            <a:cxnLst/>
            <a:rect l="l" t="t" r="r" b="b"/>
            <a:pathLst>
              <a:path h="310514">
                <a:moveTo>
                  <a:pt x="0" y="0"/>
                </a:moveTo>
                <a:lnTo>
                  <a:pt x="0" y="310515"/>
                </a:lnTo>
              </a:path>
            </a:pathLst>
          </a:custGeom>
          <a:ln w="38100">
            <a:solidFill>
              <a:srgbClr val="000000"/>
            </a:solidFill>
          </a:ln>
        </p:spPr>
        <p:txBody>
          <a:bodyPr wrap="square" lIns="0" tIns="0" rIns="0" bIns="0" rtlCol="0"/>
          <a:lstStyle/>
          <a:p>
            <a:pPr defTabSz="912754"/>
            <a:endParaRPr>
              <a:solidFill>
                <a:srgbClr val="000000"/>
              </a:solidFill>
            </a:endParaRPr>
          </a:p>
        </p:txBody>
      </p:sp>
      <p:sp>
        <p:nvSpPr>
          <p:cNvPr id="39" name="object 33"/>
          <p:cNvSpPr/>
          <p:nvPr/>
        </p:nvSpPr>
        <p:spPr>
          <a:xfrm>
            <a:off x="2617054" y="4755240"/>
            <a:ext cx="302335" cy="0"/>
          </a:xfrm>
          <a:custGeom>
            <a:avLst/>
            <a:gdLst/>
            <a:ahLst/>
            <a:cxnLst/>
            <a:rect l="l" t="t" r="r" b="b"/>
            <a:pathLst>
              <a:path w="302894">
                <a:moveTo>
                  <a:pt x="302387" y="0"/>
                </a:moveTo>
                <a:lnTo>
                  <a:pt x="0" y="0"/>
                </a:lnTo>
              </a:path>
            </a:pathLst>
          </a:custGeom>
          <a:ln w="38100">
            <a:solidFill>
              <a:srgbClr val="000000"/>
            </a:solidFill>
          </a:ln>
        </p:spPr>
        <p:txBody>
          <a:bodyPr wrap="square" lIns="0" tIns="0" rIns="0" bIns="0" rtlCol="0"/>
          <a:lstStyle/>
          <a:p>
            <a:pPr defTabSz="912754"/>
            <a:endParaRPr>
              <a:solidFill>
                <a:srgbClr val="000000"/>
              </a:solidFill>
            </a:endParaRPr>
          </a:p>
        </p:txBody>
      </p:sp>
      <p:sp>
        <p:nvSpPr>
          <p:cNvPr id="40" name="object 34"/>
          <p:cNvSpPr/>
          <p:nvPr/>
        </p:nvSpPr>
        <p:spPr>
          <a:xfrm>
            <a:off x="2639873" y="3634129"/>
            <a:ext cx="250361" cy="0"/>
          </a:xfrm>
          <a:custGeom>
            <a:avLst/>
            <a:gdLst/>
            <a:ahLst/>
            <a:cxnLst/>
            <a:rect l="l" t="t" r="r" b="b"/>
            <a:pathLst>
              <a:path w="250825">
                <a:moveTo>
                  <a:pt x="0" y="0"/>
                </a:moveTo>
                <a:lnTo>
                  <a:pt x="250697" y="0"/>
                </a:lnTo>
              </a:path>
            </a:pathLst>
          </a:custGeom>
          <a:ln w="38100">
            <a:solidFill>
              <a:srgbClr val="000000"/>
            </a:solidFill>
          </a:ln>
        </p:spPr>
        <p:txBody>
          <a:bodyPr wrap="square" lIns="0" tIns="0" rIns="0" bIns="0" rtlCol="0"/>
          <a:lstStyle/>
          <a:p>
            <a:pPr defTabSz="912754"/>
            <a:endParaRPr>
              <a:solidFill>
                <a:srgbClr val="000000"/>
              </a:solidFill>
            </a:endParaRPr>
          </a:p>
        </p:txBody>
      </p:sp>
      <p:sp>
        <p:nvSpPr>
          <p:cNvPr id="41" name="object 35"/>
          <p:cNvSpPr/>
          <p:nvPr/>
        </p:nvSpPr>
        <p:spPr>
          <a:xfrm>
            <a:off x="2645956" y="2474987"/>
            <a:ext cx="244657" cy="4437"/>
          </a:xfrm>
          <a:custGeom>
            <a:avLst/>
            <a:gdLst/>
            <a:ahLst/>
            <a:cxnLst/>
            <a:rect l="l" t="t" r="r" b="b"/>
            <a:pathLst>
              <a:path w="245109" h="4444">
                <a:moveTo>
                  <a:pt x="0" y="0"/>
                </a:moveTo>
                <a:lnTo>
                  <a:pt x="244601" y="4317"/>
                </a:lnTo>
              </a:path>
            </a:pathLst>
          </a:custGeom>
          <a:ln w="38100">
            <a:solidFill>
              <a:srgbClr val="000000"/>
            </a:solidFill>
          </a:ln>
        </p:spPr>
        <p:txBody>
          <a:bodyPr wrap="square" lIns="0" tIns="0" rIns="0" bIns="0" rtlCol="0"/>
          <a:lstStyle/>
          <a:p>
            <a:pPr defTabSz="912754"/>
            <a:endParaRPr>
              <a:solidFill>
                <a:srgbClr val="000000"/>
              </a:solidFill>
            </a:endParaRPr>
          </a:p>
        </p:txBody>
      </p:sp>
      <p:sp>
        <p:nvSpPr>
          <p:cNvPr id="42" name="object 40"/>
          <p:cNvSpPr/>
          <p:nvPr/>
        </p:nvSpPr>
        <p:spPr>
          <a:xfrm>
            <a:off x="2764609" y="2440000"/>
            <a:ext cx="3402378" cy="3193850"/>
          </a:xfrm>
          <a:custGeom>
            <a:avLst/>
            <a:gdLst/>
            <a:ahLst/>
            <a:cxnLst/>
            <a:rect l="l" t="t" r="r" b="b"/>
            <a:pathLst>
              <a:path w="3408679" h="3199765">
                <a:moveTo>
                  <a:pt x="0" y="0"/>
                </a:moveTo>
                <a:lnTo>
                  <a:pt x="3408171" y="3199637"/>
                </a:lnTo>
              </a:path>
            </a:pathLst>
          </a:custGeom>
          <a:ln w="38100">
            <a:solidFill>
              <a:srgbClr val="009EDA"/>
            </a:solidFill>
          </a:ln>
        </p:spPr>
        <p:txBody>
          <a:bodyPr wrap="square" lIns="0" tIns="0" rIns="0" bIns="0" rtlCol="0"/>
          <a:lstStyle/>
          <a:p>
            <a:pPr defTabSz="912754"/>
            <a:endParaRPr>
              <a:solidFill>
                <a:srgbClr val="000000"/>
              </a:solidFill>
            </a:endParaRPr>
          </a:p>
        </p:txBody>
      </p:sp>
      <p:sp>
        <p:nvSpPr>
          <p:cNvPr id="43" name="object 41"/>
          <p:cNvSpPr/>
          <p:nvPr/>
        </p:nvSpPr>
        <p:spPr>
          <a:xfrm>
            <a:off x="3433930" y="1679640"/>
            <a:ext cx="4272241" cy="3042269"/>
          </a:xfrm>
          <a:custGeom>
            <a:avLst/>
            <a:gdLst/>
            <a:ahLst/>
            <a:cxnLst/>
            <a:rect l="l" t="t" r="r" b="b"/>
            <a:pathLst>
              <a:path w="4520565" h="3470275">
                <a:moveTo>
                  <a:pt x="0" y="104132"/>
                </a:moveTo>
                <a:lnTo>
                  <a:pt x="22565" y="161177"/>
                </a:lnTo>
                <a:lnTo>
                  <a:pt x="45101" y="218148"/>
                </a:lnTo>
                <a:lnTo>
                  <a:pt x="67574" y="274969"/>
                </a:lnTo>
                <a:lnTo>
                  <a:pt x="89956" y="331566"/>
                </a:lnTo>
                <a:lnTo>
                  <a:pt x="112215" y="387864"/>
                </a:lnTo>
                <a:lnTo>
                  <a:pt x="134321" y="443788"/>
                </a:lnTo>
                <a:lnTo>
                  <a:pt x="156242" y="499264"/>
                </a:lnTo>
                <a:lnTo>
                  <a:pt x="177949" y="554216"/>
                </a:lnTo>
                <a:lnTo>
                  <a:pt x="199410" y="608570"/>
                </a:lnTo>
                <a:lnTo>
                  <a:pt x="220596" y="662251"/>
                </a:lnTo>
                <a:lnTo>
                  <a:pt x="241474" y="715185"/>
                </a:lnTo>
                <a:lnTo>
                  <a:pt x="262015" y="767296"/>
                </a:lnTo>
                <a:lnTo>
                  <a:pt x="282188" y="818509"/>
                </a:lnTo>
                <a:lnTo>
                  <a:pt x="301961" y="868751"/>
                </a:lnTo>
                <a:lnTo>
                  <a:pt x="321306" y="917946"/>
                </a:lnTo>
                <a:lnTo>
                  <a:pt x="340190" y="966020"/>
                </a:lnTo>
                <a:lnTo>
                  <a:pt x="358583" y="1012897"/>
                </a:lnTo>
                <a:lnTo>
                  <a:pt x="376455" y="1058504"/>
                </a:lnTo>
                <a:lnTo>
                  <a:pt x="393774" y="1102764"/>
                </a:lnTo>
                <a:lnTo>
                  <a:pt x="410511" y="1145605"/>
                </a:lnTo>
                <a:lnTo>
                  <a:pt x="426633" y="1186949"/>
                </a:lnTo>
                <a:lnTo>
                  <a:pt x="442112" y="1226724"/>
                </a:lnTo>
                <a:lnTo>
                  <a:pt x="456915" y="1264854"/>
                </a:lnTo>
                <a:lnTo>
                  <a:pt x="471013" y="1301264"/>
                </a:lnTo>
                <a:lnTo>
                  <a:pt x="496969" y="1368626"/>
                </a:lnTo>
                <a:lnTo>
                  <a:pt x="519734" y="1428213"/>
                </a:lnTo>
                <a:lnTo>
                  <a:pt x="550964" y="1512384"/>
                </a:lnTo>
                <a:lnTo>
                  <a:pt x="564208" y="1551759"/>
                </a:lnTo>
                <a:lnTo>
                  <a:pt x="572695" y="1588279"/>
                </a:lnTo>
                <a:lnTo>
                  <a:pt x="570752" y="1591469"/>
                </a:lnTo>
                <a:lnTo>
                  <a:pt x="566559" y="1588642"/>
                </a:lnTo>
                <a:lnTo>
                  <a:pt x="561523" y="1582821"/>
                </a:lnTo>
                <a:lnTo>
                  <a:pt x="557051" y="1577027"/>
                </a:lnTo>
                <a:lnTo>
                  <a:pt x="554550" y="1574282"/>
                </a:lnTo>
                <a:lnTo>
                  <a:pt x="579702" y="1627059"/>
                </a:lnTo>
                <a:lnTo>
                  <a:pt x="603377" y="1670432"/>
                </a:lnTo>
                <a:lnTo>
                  <a:pt x="630523" y="1717270"/>
                </a:lnTo>
                <a:lnTo>
                  <a:pt x="659553" y="1764690"/>
                </a:lnTo>
                <a:lnTo>
                  <a:pt x="688879" y="1809809"/>
                </a:lnTo>
                <a:lnTo>
                  <a:pt x="716914" y="1849747"/>
                </a:lnTo>
                <a:lnTo>
                  <a:pt x="744530" y="1885590"/>
                </a:lnTo>
                <a:lnTo>
                  <a:pt x="793752" y="1938050"/>
                </a:lnTo>
                <a:lnTo>
                  <a:pt x="829816" y="1973126"/>
                </a:lnTo>
                <a:lnTo>
                  <a:pt x="883157" y="2026404"/>
                </a:lnTo>
                <a:lnTo>
                  <a:pt x="909896" y="2053862"/>
                </a:lnTo>
                <a:lnTo>
                  <a:pt x="940230" y="2085422"/>
                </a:lnTo>
                <a:lnTo>
                  <a:pt x="973635" y="2120389"/>
                </a:lnTo>
                <a:lnTo>
                  <a:pt x="1009585" y="2158067"/>
                </a:lnTo>
                <a:lnTo>
                  <a:pt x="1047557" y="2197761"/>
                </a:lnTo>
                <a:lnTo>
                  <a:pt x="1087024" y="2238775"/>
                </a:lnTo>
                <a:lnTo>
                  <a:pt x="1127461" y="2280414"/>
                </a:lnTo>
                <a:lnTo>
                  <a:pt x="1168344" y="2321983"/>
                </a:lnTo>
                <a:lnTo>
                  <a:pt x="1209147" y="2362786"/>
                </a:lnTo>
                <a:lnTo>
                  <a:pt x="1249345" y="2402128"/>
                </a:lnTo>
                <a:lnTo>
                  <a:pt x="1288413" y="2439313"/>
                </a:lnTo>
                <a:lnTo>
                  <a:pt x="1325826" y="2473646"/>
                </a:lnTo>
                <a:lnTo>
                  <a:pt x="1361058" y="2504432"/>
                </a:lnTo>
                <a:lnTo>
                  <a:pt x="1404323" y="2539931"/>
                </a:lnTo>
                <a:lnTo>
                  <a:pt x="1445975" y="2572052"/>
                </a:lnTo>
                <a:lnTo>
                  <a:pt x="1486391" y="2601352"/>
                </a:lnTo>
                <a:lnTo>
                  <a:pt x="1525947" y="2628394"/>
                </a:lnTo>
                <a:lnTo>
                  <a:pt x="1565020" y="2653736"/>
                </a:lnTo>
                <a:lnTo>
                  <a:pt x="1603987" y="2677939"/>
                </a:lnTo>
                <a:lnTo>
                  <a:pt x="1643224" y="2701563"/>
                </a:lnTo>
                <a:lnTo>
                  <a:pt x="1683106" y="2725168"/>
                </a:lnTo>
                <a:lnTo>
                  <a:pt x="1724011" y="2749314"/>
                </a:lnTo>
                <a:lnTo>
                  <a:pt x="1766316" y="2774561"/>
                </a:lnTo>
                <a:lnTo>
                  <a:pt x="1809844" y="2800205"/>
                </a:lnTo>
                <a:lnTo>
                  <a:pt x="1854110" y="2825275"/>
                </a:lnTo>
                <a:lnTo>
                  <a:pt x="1899019" y="2849928"/>
                </a:lnTo>
                <a:lnTo>
                  <a:pt x="1944477" y="2874320"/>
                </a:lnTo>
                <a:lnTo>
                  <a:pt x="1990391" y="2898608"/>
                </a:lnTo>
                <a:lnTo>
                  <a:pt x="2036667" y="2922950"/>
                </a:lnTo>
                <a:lnTo>
                  <a:pt x="2083211" y="2947501"/>
                </a:lnTo>
                <a:lnTo>
                  <a:pt x="2129930" y="2972421"/>
                </a:lnTo>
                <a:lnTo>
                  <a:pt x="2176729" y="2997864"/>
                </a:lnTo>
                <a:lnTo>
                  <a:pt x="2223516" y="3023989"/>
                </a:lnTo>
                <a:lnTo>
                  <a:pt x="2266726" y="3048817"/>
                </a:lnTo>
                <a:lnTo>
                  <a:pt x="2311111" y="3074907"/>
                </a:lnTo>
                <a:lnTo>
                  <a:pt x="2356293" y="3101884"/>
                </a:lnTo>
                <a:lnTo>
                  <a:pt x="2401898" y="3129371"/>
                </a:lnTo>
                <a:lnTo>
                  <a:pt x="2447550" y="3156993"/>
                </a:lnTo>
                <a:lnTo>
                  <a:pt x="2492874" y="3184375"/>
                </a:lnTo>
                <a:lnTo>
                  <a:pt x="2537493" y="3211140"/>
                </a:lnTo>
                <a:lnTo>
                  <a:pt x="2581032" y="3236914"/>
                </a:lnTo>
                <a:lnTo>
                  <a:pt x="2623116" y="3261321"/>
                </a:lnTo>
                <a:lnTo>
                  <a:pt x="2663370" y="3283986"/>
                </a:lnTo>
                <a:lnTo>
                  <a:pt x="2701417" y="3304532"/>
                </a:lnTo>
                <a:lnTo>
                  <a:pt x="2754204" y="3333667"/>
                </a:lnTo>
                <a:lnTo>
                  <a:pt x="2799167" y="3360164"/>
                </a:lnTo>
                <a:lnTo>
                  <a:pt x="2839943" y="3383932"/>
                </a:lnTo>
                <a:lnTo>
                  <a:pt x="2880167" y="3404883"/>
                </a:lnTo>
                <a:lnTo>
                  <a:pt x="2923478" y="3422929"/>
                </a:lnTo>
                <a:lnTo>
                  <a:pt x="2973510" y="3437979"/>
                </a:lnTo>
                <a:lnTo>
                  <a:pt x="3033903" y="3449947"/>
                </a:lnTo>
                <a:lnTo>
                  <a:pt x="3075446" y="3455605"/>
                </a:lnTo>
                <a:lnTo>
                  <a:pt x="3121510" y="3460415"/>
                </a:lnTo>
                <a:lnTo>
                  <a:pt x="3171211" y="3464324"/>
                </a:lnTo>
                <a:lnTo>
                  <a:pt x="3223669" y="3467275"/>
                </a:lnTo>
                <a:lnTo>
                  <a:pt x="3277999" y="3469216"/>
                </a:lnTo>
                <a:lnTo>
                  <a:pt x="3333321" y="3470092"/>
                </a:lnTo>
                <a:lnTo>
                  <a:pt x="3388751" y="3469849"/>
                </a:lnTo>
                <a:lnTo>
                  <a:pt x="3443407" y="3468432"/>
                </a:lnTo>
                <a:lnTo>
                  <a:pt x="3496407" y="3465788"/>
                </a:lnTo>
                <a:lnTo>
                  <a:pt x="3546868" y="3461862"/>
                </a:lnTo>
                <a:lnTo>
                  <a:pt x="3593908" y="3456599"/>
                </a:lnTo>
                <a:lnTo>
                  <a:pt x="3636645" y="3449947"/>
                </a:lnTo>
                <a:lnTo>
                  <a:pt x="3695450" y="3435532"/>
                </a:lnTo>
                <a:lnTo>
                  <a:pt x="3750929" y="3415522"/>
                </a:lnTo>
                <a:lnTo>
                  <a:pt x="3802835" y="3391618"/>
                </a:lnTo>
                <a:lnTo>
                  <a:pt x="3850925" y="3365523"/>
                </a:lnTo>
                <a:lnTo>
                  <a:pt x="3894956" y="3338941"/>
                </a:lnTo>
                <a:lnTo>
                  <a:pt x="3934682" y="3313573"/>
                </a:lnTo>
                <a:lnTo>
                  <a:pt x="3969860" y="3291121"/>
                </a:lnTo>
                <a:lnTo>
                  <a:pt x="4000246" y="3273290"/>
                </a:lnTo>
                <a:lnTo>
                  <a:pt x="4039030" y="3253349"/>
                </a:lnTo>
                <a:lnTo>
                  <a:pt x="4054776" y="3244731"/>
                </a:lnTo>
                <a:lnTo>
                  <a:pt x="4083304" y="3210933"/>
                </a:lnTo>
                <a:lnTo>
                  <a:pt x="4111008" y="3176452"/>
                </a:lnTo>
                <a:lnTo>
                  <a:pt x="4143942" y="3132412"/>
                </a:lnTo>
                <a:lnTo>
                  <a:pt x="4178621" y="3083795"/>
                </a:lnTo>
                <a:lnTo>
                  <a:pt x="4211555" y="3035579"/>
                </a:lnTo>
                <a:lnTo>
                  <a:pt x="4239259" y="2992747"/>
                </a:lnTo>
                <a:lnTo>
                  <a:pt x="4264632" y="2950001"/>
                </a:lnTo>
                <a:lnTo>
                  <a:pt x="4284027" y="2912911"/>
                </a:lnTo>
                <a:lnTo>
                  <a:pt x="4301803" y="2874178"/>
                </a:lnTo>
                <a:lnTo>
                  <a:pt x="4322318" y="2826504"/>
                </a:lnTo>
                <a:lnTo>
                  <a:pt x="4338576" y="2788917"/>
                </a:lnTo>
                <a:lnTo>
                  <a:pt x="4355827" y="2748737"/>
                </a:lnTo>
                <a:lnTo>
                  <a:pt x="4373641" y="2705679"/>
                </a:lnTo>
                <a:lnTo>
                  <a:pt x="4391594" y="2659456"/>
                </a:lnTo>
                <a:lnTo>
                  <a:pt x="4409257" y="2609784"/>
                </a:lnTo>
                <a:lnTo>
                  <a:pt x="4426204" y="2556375"/>
                </a:lnTo>
                <a:lnTo>
                  <a:pt x="4439456" y="2513614"/>
                </a:lnTo>
                <a:lnTo>
                  <a:pt x="4453973" y="2468606"/>
                </a:lnTo>
                <a:lnTo>
                  <a:pt x="4468901" y="2421532"/>
                </a:lnTo>
                <a:lnTo>
                  <a:pt x="4483385" y="2372574"/>
                </a:lnTo>
                <a:lnTo>
                  <a:pt x="4496572" y="2321913"/>
                </a:lnTo>
                <a:lnTo>
                  <a:pt x="4507607" y="2269732"/>
                </a:lnTo>
                <a:lnTo>
                  <a:pt x="4515635" y="2216211"/>
                </a:lnTo>
                <a:lnTo>
                  <a:pt x="4519803" y="2161532"/>
                </a:lnTo>
                <a:lnTo>
                  <a:pt x="4519977" y="2115314"/>
                </a:lnTo>
                <a:lnTo>
                  <a:pt x="4517646" y="2065684"/>
                </a:lnTo>
                <a:lnTo>
                  <a:pt x="4513214" y="2013703"/>
                </a:lnTo>
                <a:lnTo>
                  <a:pt x="4507088" y="1960431"/>
                </a:lnTo>
                <a:lnTo>
                  <a:pt x="4499673" y="1906928"/>
                </a:lnTo>
                <a:lnTo>
                  <a:pt x="4491374" y="1854257"/>
                </a:lnTo>
                <a:lnTo>
                  <a:pt x="4482596" y="1803476"/>
                </a:lnTo>
                <a:lnTo>
                  <a:pt x="4473745" y="1755648"/>
                </a:lnTo>
                <a:lnTo>
                  <a:pt x="4465227" y="1711832"/>
                </a:lnTo>
                <a:lnTo>
                  <a:pt x="4457446" y="1673090"/>
                </a:lnTo>
                <a:lnTo>
                  <a:pt x="4442979" y="1612569"/>
                </a:lnTo>
                <a:lnTo>
                  <a:pt x="4428183" y="1568428"/>
                </a:lnTo>
                <a:lnTo>
                  <a:pt x="4412302" y="1531687"/>
                </a:lnTo>
                <a:lnTo>
                  <a:pt x="4394579" y="1493367"/>
                </a:lnTo>
                <a:lnTo>
                  <a:pt x="4374260" y="1444490"/>
                </a:lnTo>
                <a:lnTo>
                  <a:pt x="4358251" y="1400776"/>
                </a:lnTo>
                <a:lnTo>
                  <a:pt x="4341298" y="1352428"/>
                </a:lnTo>
                <a:lnTo>
                  <a:pt x="4323312" y="1301172"/>
                </a:lnTo>
                <a:lnTo>
                  <a:pt x="4304204" y="1248733"/>
                </a:lnTo>
                <a:lnTo>
                  <a:pt x="4283885" y="1196840"/>
                </a:lnTo>
                <a:lnTo>
                  <a:pt x="4262266" y="1147216"/>
                </a:lnTo>
                <a:lnTo>
                  <a:pt x="4239259" y="1101590"/>
                </a:lnTo>
                <a:lnTo>
                  <a:pt x="4210776" y="1052401"/>
                </a:lnTo>
                <a:lnTo>
                  <a:pt x="4180722" y="1005385"/>
                </a:lnTo>
                <a:lnTo>
                  <a:pt x="4148947" y="960683"/>
                </a:lnTo>
                <a:lnTo>
                  <a:pt x="4115298" y="918437"/>
                </a:lnTo>
                <a:lnTo>
                  <a:pt x="4079625" y="878787"/>
                </a:lnTo>
                <a:lnTo>
                  <a:pt x="4041775" y="841875"/>
                </a:lnTo>
                <a:lnTo>
                  <a:pt x="4002186" y="809717"/>
                </a:lnTo>
                <a:lnTo>
                  <a:pt x="3960988" y="782603"/>
                </a:lnTo>
                <a:lnTo>
                  <a:pt x="3917759" y="758086"/>
                </a:lnTo>
                <a:lnTo>
                  <a:pt x="3872074" y="733718"/>
                </a:lnTo>
                <a:lnTo>
                  <a:pt x="3823511" y="707049"/>
                </a:lnTo>
                <a:lnTo>
                  <a:pt x="3771646" y="675632"/>
                </a:lnTo>
                <a:lnTo>
                  <a:pt x="3734431" y="650755"/>
                </a:lnTo>
                <a:lnTo>
                  <a:pt x="3694731" y="622979"/>
                </a:lnTo>
                <a:lnTo>
                  <a:pt x="3653145" y="593242"/>
                </a:lnTo>
                <a:lnTo>
                  <a:pt x="3610274" y="562482"/>
                </a:lnTo>
                <a:lnTo>
                  <a:pt x="3566716" y="531639"/>
                </a:lnTo>
                <a:lnTo>
                  <a:pt x="3523074" y="501651"/>
                </a:lnTo>
                <a:lnTo>
                  <a:pt x="3479945" y="473457"/>
                </a:lnTo>
                <a:lnTo>
                  <a:pt x="3437931" y="447995"/>
                </a:lnTo>
                <a:lnTo>
                  <a:pt x="3397630" y="426204"/>
                </a:lnTo>
                <a:lnTo>
                  <a:pt x="3348775" y="404167"/>
                </a:lnTo>
                <a:lnTo>
                  <a:pt x="3302335" y="387414"/>
                </a:lnTo>
                <a:lnTo>
                  <a:pt x="3257131" y="374212"/>
                </a:lnTo>
                <a:lnTo>
                  <a:pt x="3211988" y="362833"/>
                </a:lnTo>
                <a:lnTo>
                  <a:pt x="3165728" y="351544"/>
                </a:lnTo>
                <a:lnTo>
                  <a:pt x="3117172" y="338616"/>
                </a:lnTo>
                <a:lnTo>
                  <a:pt x="3065145" y="322318"/>
                </a:lnTo>
                <a:lnTo>
                  <a:pt x="3022122" y="306989"/>
                </a:lnTo>
                <a:lnTo>
                  <a:pt x="2977525" y="290161"/>
                </a:lnTo>
                <a:lnTo>
                  <a:pt x="2931564" y="272261"/>
                </a:lnTo>
                <a:lnTo>
                  <a:pt x="2884453" y="253718"/>
                </a:lnTo>
                <a:lnTo>
                  <a:pt x="2836403" y="234961"/>
                </a:lnTo>
                <a:lnTo>
                  <a:pt x="2787626" y="216419"/>
                </a:lnTo>
                <a:lnTo>
                  <a:pt x="2738335" y="198519"/>
                </a:lnTo>
                <a:lnTo>
                  <a:pt x="2688742" y="181690"/>
                </a:lnTo>
                <a:lnTo>
                  <a:pt x="2639060" y="166362"/>
                </a:lnTo>
                <a:lnTo>
                  <a:pt x="2588158" y="152225"/>
                </a:lnTo>
                <a:lnTo>
                  <a:pt x="2535195" y="138632"/>
                </a:lnTo>
                <a:lnTo>
                  <a:pt x="2480945" y="125628"/>
                </a:lnTo>
                <a:lnTo>
                  <a:pt x="2426176" y="113257"/>
                </a:lnTo>
                <a:lnTo>
                  <a:pt x="2371662" y="101564"/>
                </a:lnTo>
                <a:lnTo>
                  <a:pt x="2318173" y="90594"/>
                </a:lnTo>
                <a:lnTo>
                  <a:pt x="2266481" y="80393"/>
                </a:lnTo>
                <a:lnTo>
                  <a:pt x="2217357" y="71005"/>
                </a:lnTo>
                <a:lnTo>
                  <a:pt x="2171572" y="62476"/>
                </a:lnTo>
                <a:lnTo>
                  <a:pt x="2111653" y="51700"/>
                </a:lnTo>
                <a:lnTo>
                  <a:pt x="2060386" y="43242"/>
                </a:lnTo>
                <a:lnTo>
                  <a:pt x="2013156" y="36520"/>
                </a:lnTo>
                <a:lnTo>
                  <a:pt x="1965343" y="30952"/>
                </a:lnTo>
                <a:lnTo>
                  <a:pt x="1912331" y="25954"/>
                </a:lnTo>
                <a:lnTo>
                  <a:pt x="1849501" y="20947"/>
                </a:lnTo>
                <a:lnTo>
                  <a:pt x="1805501" y="17833"/>
                </a:lnTo>
                <a:lnTo>
                  <a:pt x="1757304" y="14782"/>
                </a:lnTo>
                <a:lnTo>
                  <a:pt x="1705905" y="11855"/>
                </a:lnTo>
                <a:lnTo>
                  <a:pt x="1652305" y="9116"/>
                </a:lnTo>
                <a:lnTo>
                  <a:pt x="1597501" y="6627"/>
                </a:lnTo>
                <a:lnTo>
                  <a:pt x="1542491" y="4451"/>
                </a:lnTo>
                <a:lnTo>
                  <a:pt x="1488273" y="2649"/>
                </a:lnTo>
                <a:lnTo>
                  <a:pt x="1435846" y="1285"/>
                </a:lnTo>
                <a:lnTo>
                  <a:pt x="1386208" y="421"/>
                </a:lnTo>
                <a:lnTo>
                  <a:pt x="1340358" y="119"/>
                </a:lnTo>
                <a:lnTo>
                  <a:pt x="1281294" y="0"/>
                </a:lnTo>
                <a:lnTo>
                  <a:pt x="1227638" y="5"/>
                </a:lnTo>
                <a:lnTo>
                  <a:pt x="1177565" y="679"/>
                </a:lnTo>
                <a:lnTo>
                  <a:pt x="1129252" y="2565"/>
                </a:lnTo>
                <a:lnTo>
                  <a:pt x="1080874" y="6210"/>
                </a:lnTo>
                <a:lnTo>
                  <a:pt x="1030608" y="12155"/>
                </a:lnTo>
                <a:lnTo>
                  <a:pt x="976630" y="20947"/>
                </a:lnTo>
                <a:lnTo>
                  <a:pt x="930446" y="30701"/>
                </a:lnTo>
                <a:lnTo>
                  <a:pt x="880582" y="43278"/>
                </a:lnTo>
                <a:lnTo>
                  <a:pt x="828491" y="57908"/>
                </a:lnTo>
                <a:lnTo>
                  <a:pt x="775629" y="73821"/>
                </a:lnTo>
                <a:lnTo>
                  <a:pt x="723450" y="90246"/>
                </a:lnTo>
                <a:lnTo>
                  <a:pt x="673410" y="106413"/>
                </a:lnTo>
                <a:lnTo>
                  <a:pt x="626963" y="121551"/>
                </a:lnTo>
                <a:lnTo>
                  <a:pt x="585566" y="134891"/>
                </a:lnTo>
                <a:lnTo>
                  <a:pt x="550672" y="145661"/>
                </a:lnTo>
                <a:lnTo>
                  <a:pt x="497449" y="160901"/>
                </a:lnTo>
                <a:lnTo>
                  <a:pt x="467598" y="168997"/>
                </a:lnTo>
                <a:lnTo>
                  <a:pt x="445533" y="175807"/>
                </a:lnTo>
                <a:lnTo>
                  <a:pt x="415670" y="187190"/>
                </a:lnTo>
                <a:lnTo>
                  <a:pt x="374370" y="209456"/>
                </a:lnTo>
                <a:lnTo>
                  <a:pt x="329866" y="237879"/>
                </a:lnTo>
                <a:lnTo>
                  <a:pt x="284100" y="261753"/>
                </a:lnTo>
                <a:lnTo>
                  <a:pt x="239013" y="270375"/>
                </a:lnTo>
                <a:lnTo>
                  <a:pt x="194819" y="259695"/>
                </a:lnTo>
                <a:lnTo>
                  <a:pt x="150637" y="235894"/>
                </a:lnTo>
                <a:lnTo>
                  <a:pt x="106479" y="203331"/>
                </a:lnTo>
                <a:lnTo>
                  <a:pt x="62356" y="166362"/>
                </a:lnTo>
              </a:path>
            </a:pathLst>
          </a:custGeom>
          <a:ln w="25908">
            <a:solidFill>
              <a:srgbClr val="00749F"/>
            </a:solidFill>
          </a:ln>
        </p:spPr>
        <p:txBody>
          <a:bodyPr wrap="square" lIns="0" tIns="0" rIns="0" bIns="0" rtlCol="0"/>
          <a:lstStyle/>
          <a:p>
            <a:pPr defTabSz="912754"/>
            <a:endParaRPr>
              <a:solidFill>
                <a:srgbClr val="000000"/>
              </a:solidFill>
            </a:endParaRPr>
          </a:p>
        </p:txBody>
      </p:sp>
      <p:sp>
        <p:nvSpPr>
          <p:cNvPr id="44" name="object 42"/>
          <p:cNvSpPr/>
          <p:nvPr/>
        </p:nvSpPr>
        <p:spPr>
          <a:xfrm>
            <a:off x="1589145" y="2622215"/>
            <a:ext cx="3766691" cy="3946466"/>
          </a:xfrm>
          <a:custGeom>
            <a:avLst/>
            <a:gdLst/>
            <a:ahLst/>
            <a:cxnLst/>
            <a:rect l="l" t="t" r="r" b="b"/>
            <a:pathLst>
              <a:path w="3982720" h="4241165">
                <a:moveTo>
                  <a:pt x="1005880" y="42027"/>
                </a:moveTo>
                <a:lnTo>
                  <a:pt x="1042792" y="61699"/>
                </a:lnTo>
                <a:lnTo>
                  <a:pt x="1085026" y="87791"/>
                </a:lnTo>
                <a:lnTo>
                  <a:pt x="1129589" y="117547"/>
                </a:lnTo>
                <a:lnTo>
                  <a:pt x="1173488" y="148211"/>
                </a:lnTo>
                <a:lnTo>
                  <a:pt x="1213728" y="177028"/>
                </a:lnTo>
                <a:lnTo>
                  <a:pt x="1256277" y="208875"/>
                </a:lnTo>
                <a:lnTo>
                  <a:pt x="1294278" y="239400"/>
                </a:lnTo>
                <a:lnTo>
                  <a:pt x="1333565" y="272522"/>
                </a:lnTo>
                <a:lnTo>
                  <a:pt x="1379971" y="312156"/>
                </a:lnTo>
                <a:lnTo>
                  <a:pt x="1411536" y="338844"/>
                </a:lnTo>
                <a:lnTo>
                  <a:pt x="1446127" y="368085"/>
                </a:lnTo>
                <a:lnTo>
                  <a:pt x="1482741" y="399243"/>
                </a:lnTo>
                <a:lnTo>
                  <a:pt x="1520378" y="431684"/>
                </a:lnTo>
                <a:lnTo>
                  <a:pt x="1558034" y="464770"/>
                </a:lnTo>
                <a:lnTo>
                  <a:pt x="1594709" y="497868"/>
                </a:lnTo>
                <a:lnTo>
                  <a:pt x="1629399" y="530342"/>
                </a:lnTo>
                <a:lnTo>
                  <a:pt x="1668192" y="568900"/>
                </a:lnTo>
                <a:lnTo>
                  <a:pt x="1706404" y="609194"/>
                </a:lnTo>
                <a:lnTo>
                  <a:pt x="1743747" y="649785"/>
                </a:lnTo>
                <a:lnTo>
                  <a:pt x="1779937" y="689233"/>
                </a:lnTo>
                <a:lnTo>
                  <a:pt x="1814687" y="726098"/>
                </a:lnTo>
                <a:lnTo>
                  <a:pt x="1847712" y="758942"/>
                </a:lnTo>
                <a:lnTo>
                  <a:pt x="1891690" y="798038"/>
                </a:lnTo>
                <a:lnTo>
                  <a:pt x="1930834" y="829014"/>
                </a:lnTo>
                <a:lnTo>
                  <a:pt x="1969978" y="858704"/>
                </a:lnTo>
                <a:lnTo>
                  <a:pt x="2013955" y="893943"/>
                </a:lnTo>
                <a:lnTo>
                  <a:pt x="2047104" y="922722"/>
                </a:lnTo>
                <a:lnTo>
                  <a:pt x="2082126" y="954380"/>
                </a:lnTo>
                <a:lnTo>
                  <a:pt x="2118587" y="987478"/>
                </a:lnTo>
                <a:lnTo>
                  <a:pt x="2156054" y="1020576"/>
                </a:lnTo>
                <a:lnTo>
                  <a:pt x="2194092" y="1052234"/>
                </a:lnTo>
                <a:lnTo>
                  <a:pt x="2232268" y="1081014"/>
                </a:lnTo>
                <a:lnTo>
                  <a:pt x="2280900" y="1112805"/>
                </a:lnTo>
                <a:lnTo>
                  <a:pt x="2332860" y="1143201"/>
                </a:lnTo>
                <a:lnTo>
                  <a:pt x="2384406" y="1171201"/>
                </a:lnTo>
                <a:lnTo>
                  <a:pt x="2431794" y="1195805"/>
                </a:lnTo>
                <a:lnTo>
                  <a:pt x="2471282" y="1216015"/>
                </a:lnTo>
                <a:lnTo>
                  <a:pt x="2527130" y="1237462"/>
                </a:lnTo>
                <a:lnTo>
                  <a:pt x="2547256" y="1243572"/>
                </a:lnTo>
                <a:lnTo>
                  <a:pt x="2575168" y="1257671"/>
                </a:lnTo>
                <a:lnTo>
                  <a:pt x="2615183" y="1283960"/>
                </a:lnTo>
                <a:lnTo>
                  <a:pt x="2661544" y="1317392"/>
                </a:lnTo>
                <a:lnTo>
                  <a:pt x="2708881" y="1352111"/>
                </a:lnTo>
                <a:lnTo>
                  <a:pt x="2751825" y="1382258"/>
                </a:lnTo>
                <a:lnTo>
                  <a:pt x="2786083" y="1404024"/>
                </a:lnTo>
                <a:lnTo>
                  <a:pt x="2815484" y="1421231"/>
                </a:lnTo>
                <a:lnTo>
                  <a:pt x="2846837" y="1439747"/>
                </a:lnTo>
                <a:lnTo>
                  <a:pt x="2886953" y="1465443"/>
                </a:lnTo>
                <a:lnTo>
                  <a:pt x="2921979" y="1489284"/>
                </a:lnTo>
                <a:lnTo>
                  <a:pt x="2962777" y="1517743"/>
                </a:lnTo>
                <a:lnTo>
                  <a:pt x="3006460" y="1548516"/>
                </a:lnTo>
                <a:lnTo>
                  <a:pt x="3050144" y="1579300"/>
                </a:lnTo>
                <a:lnTo>
                  <a:pt x="3090941" y="1607791"/>
                </a:lnTo>
                <a:lnTo>
                  <a:pt x="3125967" y="1631686"/>
                </a:lnTo>
                <a:lnTo>
                  <a:pt x="3166816" y="1653182"/>
                </a:lnTo>
                <a:lnTo>
                  <a:pt x="3199389" y="1664785"/>
                </a:lnTo>
                <a:lnTo>
                  <a:pt x="3229034" y="1680602"/>
                </a:lnTo>
                <a:lnTo>
                  <a:pt x="3261095" y="1714744"/>
                </a:lnTo>
                <a:lnTo>
                  <a:pt x="3281414" y="1747180"/>
                </a:lnTo>
                <a:lnTo>
                  <a:pt x="3302190" y="1787698"/>
                </a:lnTo>
                <a:lnTo>
                  <a:pt x="3323244" y="1833572"/>
                </a:lnTo>
                <a:lnTo>
                  <a:pt x="3344395" y="1882077"/>
                </a:lnTo>
                <a:lnTo>
                  <a:pt x="3365465" y="1930486"/>
                </a:lnTo>
                <a:lnTo>
                  <a:pt x="3386272" y="1976074"/>
                </a:lnTo>
                <a:lnTo>
                  <a:pt x="3406637" y="2016115"/>
                </a:lnTo>
                <a:lnTo>
                  <a:pt x="3447448" y="2084369"/>
                </a:lnTo>
                <a:lnTo>
                  <a:pt x="3491664" y="2151814"/>
                </a:lnTo>
                <a:lnTo>
                  <a:pt x="3527117" y="2203352"/>
                </a:lnTo>
                <a:lnTo>
                  <a:pt x="3541638" y="2223887"/>
                </a:lnTo>
                <a:lnTo>
                  <a:pt x="3568188" y="2264258"/>
                </a:lnTo>
                <a:lnTo>
                  <a:pt x="3594232" y="2303478"/>
                </a:lnTo>
                <a:lnTo>
                  <a:pt x="3620514" y="2343289"/>
                </a:lnTo>
                <a:lnTo>
                  <a:pt x="3647778" y="2385435"/>
                </a:lnTo>
                <a:lnTo>
                  <a:pt x="3676766" y="2431659"/>
                </a:lnTo>
                <a:lnTo>
                  <a:pt x="3703660" y="2475176"/>
                </a:lnTo>
                <a:lnTo>
                  <a:pt x="3732994" y="2522877"/>
                </a:lnTo>
                <a:lnTo>
                  <a:pt x="3763190" y="2572597"/>
                </a:lnTo>
                <a:lnTo>
                  <a:pt x="3792666" y="2622168"/>
                </a:lnTo>
                <a:lnTo>
                  <a:pt x="3819841" y="2669425"/>
                </a:lnTo>
                <a:lnTo>
                  <a:pt x="3843136" y="2712202"/>
                </a:lnTo>
                <a:lnTo>
                  <a:pt x="3870723" y="2767883"/>
                </a:lnTo>
                <a:lnTo>
                  <a:pt x="3892476" y="2817421"/>
                </a:lnTo>
                <a:lnTo>
                  <a:pt x="3910323" y="2863720"/>
                </a:lnTo>
                <a:lnTo>
                  <a:pt x="3926194" y="2909687"/>
                </a:lnTo>
                <a:lnTo>
                  <a:pt x="3940258" y="2951110"/>
                </a:lnTo>
                <a:lnTo>
                  <a:pt x="3951547" y="2988188"/>
                </a:lnTo>
                <a:lnTo>
                  <a:pt x="3960574" y="3030148"/>
                </a:lnTo>
                <a:lnTo>
                  <a:pt x="3967850" y="3086217"/>
                </a:lnTo>
                <a:lnTo>
                  <a:pt x="3971686" y="3128712"/>
                </a:lnTo>
                <a:lnTo>
                  <a:pt x="3975488" y="3178559"/>
                </a:lnTo>
                <a:lnTo>
                  <a:pt x="3978804" y="3232942"/>
                </a:lnTo>
                <a:lnTo>
                  <a:pt x="3981180" y="3289045"/>
                </a:lnTo>
                <a:lnTo>
                  <a:pt x="3982163" y="3344054"/>
                </a:lnTo>
                <a:lnTo>
                  <a:pt x="3981300" y="3395154"/>
                </a:lnTo>
                <a:lnTo>
                  <a:pt x="3978137" y="3439531"/>
                </a:lnTo>
                <a:lnTo>
                  <a:pt x="3966340" y="3503413"/>
                </a:lnTo>
                <a:lnTo>
                  <a:pt x="3948340" y="3557069"/>
                </a:lnTo>
                <a:lnTo>
                  <a:pt x="3927077" y="3603905"/>
                </a:lnTo>
                <a:lnTo>
                  <a:pt x="3905493" y="3647328"/>
                </a:lnTo>
                <a:lnTo>
                  <a:pt x="3885957" y="3685725"/>
                </a:lnTo>
                <a:lnTo>
                  <a:pt x="3843075" y="3748880"/>
                </a:lnTo>
                <a:lnTo>
                  <a:pt x="3811894" y="3782405"/>
                </a:lnTo>
                <a:lnTo>
                  <a:pt x="3785869" y="3810584"/>
                </a:lnTo>
                <a:lnTo>
                  <a:pt x="3729095" y="3867441"/>
                </a:lnTo>
                <a:lnTo>
                  <a:pt x="3682862" y="3900107"/>
                </a:lnTo>
                <a:lnTo>
                  <a:pt x="3614409" y="3938260"/>
                </a:lnTo>
                <a:lnTo>
                  <a:pt x="3579909" y="3955459"/>
                </a:lnTo>
                <a:lnTo>
                  <a:pt x="3540096" y="3974787"/>
                </a:lnTo>
                <a:lnTo>
                  <a:pt x="3495807" y="3995790"/>
                </a:lnTo>
                <a:lnTo>
                  <a:pt x="3447878" y="4018012"/>
                </a:lnTo>
                <a:lnTo>
                  <a:pt x="3397147" y="4041001"/>
                </a:lnTo>
                <a:lnTo>
                  <a:pt x="3344450" y="4064302"/>
                </a:lnTo>
                <a:lnTo>
                  <a:pt x="3290625" y="4087461"/>
                </a:lnTo>
                <a:lnTo>
                  <a:pt x="3236508" y="4110024"/>
                </a:lnTo>
                <a:lnTo>
                  <a:pt x="3182936" y="4131538"/>
                </a:lnTo>
                <a:lnTo>
                  <a:pt x="3130746" y="4151547"/>
                </a:lnTo>
                <a:lnTo>
                  <a:pt x="3080776" y="4169599"/>
                </a:lnTo>
                <a:lnTo>
                  <a:pt x="3033861" y="4185239"/>
                </a:lnTo>
                <a:lnTo>
                  <a:pt x="2990839" y="4198013"/>
                </a:lnTo>
                <a:lnTo>
                  <a:pt x="2933679" y="4211624"/>
                </a:lnTo>
                <a:lnTo>
                  <a:pt x="2879684" y="4220703"/>
                </a:lnTo>
                <a:lnTo>
                  <a:pt x="2828425" y="4226105"/>
                </a:lnTo>
                <a:lnTo>
                  <a:pt x="2779474" y="4228685"/>
                </a:lnTo>
                <a:lnTo>
                  <a:pt x="2732403" y="4229297"/>
                </a:lnTo>
                <a:lnTo>
                  <a:pt x="2686782" y="4228797"/>
                </a:lnTo>
                <a:lnTo>
                  <a:pt x="2642184" y="4228041"/>
                </a:lnTo>
                <a:lnTo>
                  <a:pt x="2598180" y="4227883"/>
                </a:lnTo>
                <a:lnTo>
                  <a:pt x="2554340" y="4229178"/>
                </a:lnTo>
                <a:lnTo>
                  <a:pt x="2500432" y="4232210"/>
                </a:lnTo>
                <a:lnTo>
                  <a:pt x="2450394" y="4235179"/>
                </a:lnTo>
                <a:lnTo>
                  <a:pt x="2402591" y="4237814"/>
                </a:lnTo>
                <a:lnTo>
                  <a:pt x="2355388" y="4239842"/>
                </a:lnTo>
                <a:lnTo>
                  <a:pt x="2307149" y="4240992"/>
                </a:lnTo>
                <a:lnTo>
                  <a:pt x="2256241" y="4240991"/>
                </a:lnTo>
                <a:lnTo>
                  <a:pt x="2201026" y="4239567"/>
                </a:lnTo>
                <a:lnTo>
                  <a:pt x="2155574" y="4237743"/>
                </a:lnTo>
                <a:lnTo>
                  <a:pt x="2109186" y="4235620"/>
                </a:lnTo>
                <a:lnTo>
                  <a:pt x="2061688" y="4233027"/>
                </a:lnTo>
                <a:lnTo>
                  <a:pt x="2012909" y="4229793"/>
                </a:lnTo>
                <a:lnTo>
                  <a:pt x="1962673" y="4225746"/>
                </a:lnTo>
                <a:lnTo>
                  <a:pt x="1910808" y="4220716"/>
                </a:lnTo>
                <a:lnTo>
                  <a:pt x="1857139" y="4214531"/>
                </a:lnTo>
                <a:lnTo>
                  <a:pt x="1801494" y="4207020"/>
                </a:lnTo>
                <a:lnTo>
                  <a:pt x="1743699" y="4198013"/>
                </a:lnTo>
                <a:lnTo>
                  <a:pt x="1698930" y="4191089"/>
                </a:lnTo>
                <a:lnTo>
                  <a:pt x="1652988" y="4184760"/>
                </a:lnTo>
                <a:lnTo>
                  <a:pt x="1605926" y="4178612"/>
                </a:lnTo>
                <a:lnTo>
                  <a:pt x="1557799" y="4172230"/>
                </a:lnTo>
                <a:lnTo>
                  <a:pt x="1508662" y="4165198"/>
                </a:lnTo>
                <a:lnTo>
                  <a:pt x="1458568" y="4157101"/>
                </a:lnTo>
                <a:lnTo>
                  <a:pt x="1407572" y="4147525"/>
                </a:lnTo>
                <a:lnTo>
                  <a:pt x="1355728" y="4136055"/>
                </a:lnTo>
                <a:lnTo>
                  <a:pt x="1303091" y="4122276"/>
                </a:lnTo>
                <a:lnTo>
                  <a:pt x="1249713" y="4105773"/>
                </a:lnTo>
                <a:lnTo>
                  <a:pt x="1195651" y="4086131"/>
                </a:lnTo>
                <a:lnTo>
                  <a:pt x="1140957" y="4062935"/>
                </a:lnTo>
                <a:lnTo>
                  <a:pt x="1100878" y="4043740"/>
                </a:lnTo>
                <a:lnTo>
                  <a:pt x="1058537" y="4021825"/>
                </a:lnTo>
                <a:lnTo>
                  <a:pt x="1014334" y="3997526"/>
                </a:lnTo>
                <a:lnTo>
                  <a:pt x="968669" y="3971180"/>
                </a:lnTo>
                <a:lnTo>
                  <a:pt x="921941" y="3943123"/>
                </a:lnTo>
                <a:lnTo>
                  <a:pt x="874551" y="3913691"/>
                </a:lnTo>
                <a:lnTo>
                  <a:pt x="826898" y="3883221"/>
                </a:lnTo>
                <a:lnTo>
                  <a:pt x="779383" y="3852048"/>
                </a:lnTo>
                <a:lnTo>
                  <a:pt x="732404" y="3820510"/>
                </a:lnTo>
                <a:lnTo>
                  <a:pt x="686362" y="3788942"/>
                </a:lnTo>
                <a:lnTo>
                  <a:pt x="641657" y="3757681"/>
                </a:lnTo>
                <a:lnTo>
                  <a:pt x="598689" y="3727062"/>
                </a:lnTo>
                <a:lnTo>
                  <a:pt x="557857" y="3697423"/>
                </a:lnTo>
                <a:lnTo>
                  <a:pt x="519561" y="3669100"/>
                </a:lnTo>
                <a:lnTo>
                  <a:pt x="484201" y="3642428"/>
                </a:lnTo>
                <a:lnTo>
                  <a:pt x="452178" y="3617744"/>
                </a:lnTo>
                <a:lnTo>
                  <a:pt x="423890" y="3595385"/>
                </a:lnTo>
                <a:lnTo>
                  <a:pt x="384570" y="3565073"/>
                </a:lnTo>
                <a:lnTo>
                  <a:pt x="354800" y="3543851"/>
                </a:lnTo>
                <a:lnTo>
                  <a:pt x="332803" y="3528760"/>
                </a:lnTo>
                <a:lnTo>
                  <a:pt x="316802" y="3516837"/>
                </a:lnTo>
                <a:lnTo>
                  <a:pt x="287008" y="3470469"/>
                </a:lnTo>
                <a:lnTo>
                  <a:pt x="264548" y="3401114"/>
                </a:lnTo>
                <a:lnTo>
                  <a:pt x="247207" y="3346020"/>
                </a:lnTo>
                <a:lnTo>
                  <a:pt x="226520" y="3276327"/>
                </a:lnTo>
                <a:lnTo>
                  <a:pt x="215273" y="3235177"/>
                </a:lnTo>
                <a:lnTo>
                  <a:pt x="203544" y="3190441"/>
                </a:lnTo>
                <a:lnTo>
                  <a:pt x="191424" y="3142578"/>
                </a:lnTo>
                <a:lnTo>
                  <a:pt x="179005" y="3092051"/>
                </a:lnTo>
                <a:lnTo>
                  <a:pt x="166378" y="3039319"/>
                </a:lnTo>
                <a:lnTo>
                  <a:pt x="153632" y="2984844"/>
                </a:lnTo>
                <a:lnTo>
                  <a:pt x="140859" y="2929086"/>
                </a:lnTo>
                <a:lnTo>
                  <a:pt x="128151" y="2872508"/>
                </a:lnTo>
                <a:lnTo>
                  <a:pt x="115597" y="2815569"/>
                </a:lnTo>
                <a:lnTo>
                  <a:pt x="103289" y="2758730"/>
                </a:lnTo>
                <a:lnTo>
                  <a:pt x="91317" y="2702454"/>
                </a:lnTo>
                <a:lnTo>
                  <a:pt x="79773" y="2647200"/>
                </a:lnTo>
                <a:lnTo>
                  <a:pt x="68748" y="2593429"/>
                </a:lnTo>
                <a:lnTo>
                  <a:pt x="58331" y="2541603"/>
                </a:lnTo>
                <a:lnTo>
                  <a:pt x="48615" y="2492182"/>
                </a:lnTo>
                <a:lnTo>
                  <a:pt x="39690" y="2445628"/>
                </a:lnTo>
                <a:lnTo>
                  <a:pt x="31647" y="2402401"/>
                </a:lnTo>
                <a:lnTo>
                  <a:pt x="24576" y="2362962"/>
                </a:lnTo>
                <a:lnTo>
                  <a:pt x="7345" y="2251652"/>
                </a:lnTo>
                <a:lnTo>
                  <a:pt x="1521" y="2193057"/>
                </a:lnTo>
                <a:lnTo>
                  <a:pt x="0" y="2147607"/>
                </a:lnTo>
                <a:lnTo>
                  <a:pt x="1685" y="2110920"/>
                </a:lnTo>
                <a:lnTo>
                  <a:pt x="5481" y="2078614"/>
                </a:lnTo>
                <a:lnTo>
                  <a:pt x="10291" y="2046309"/>
                </a:lnTo>
                <a:lnTo>
                  <a:pt x="15019" y="2009622"/>
                </a:lnTo>
                <a:lnTo>
                  <a:pt x="18569" y="1964172"/>
                </a:lnTo>
                <a:lnTo>
                  <a:pt x="21194" y="1916800"/>
                </a:lnTo>
                <a:lnTo>
                  <a:pt x="24417" y="1866471"/>
                </a:lnTo>
                <a:lnTo>
                  <a:pt x="28195" y="1814086"/>
                </a:lnTo>
                <a:lnTo>
                  <a:pt x="32486" y="1760543"/>
                </a:lnTo>
                <a:lnTo>
                  <a:pt x="37248" y="1706743"/>
                </a:lnTo>
                <a:lnTo>
                  <a:pt x="42438" y="1653586"/>
                </a:lnTo>
                <a:lnTo>
                  <a:pt x="48013" y="1601972"/>
                </a:lnTo>
                <a:lnTo>
                  <a:pt x="53931" y="1552800"/>
                </a:lnTo>
                <a:lnTo>
                  <a:pt x="60149" y="1506972"/>
                </a:lnTo>
                <a:lnTo>
                  <a:pt x="69359" y="1452398"/>
                </a:lnTo>
                <a:lnTo>
                  <a:pt x="80174" y="1401090"/>
                </a:lnTo>
                <a:lnTo>
                  <a:pt x="91868" y="1352503"/>
                </a:lnTo>
                <a:lnTo>
                  <a:pt x="103714" y="1306094"/>
                </a:lnTo>
                <a:lnTo>
                  <a:pt x="114985" y="1261317"/>
                </a:lnTo>
                <a:lnTo>
                  <a:pt x="124954" y="1217629"/>
                </a:lnTo>
                <a:lnTo>
                  <a:pt x="132895" y="1174486"/>
                </a:lnTo>
                <a:lnTo>
                  <a:pt x="140541" y="1116631"/>
                </a:lnTo>
                <a:lnTo>
                  <a:pt x="145444" y="1062447"/>
                </a:lnTo>
                <a:lnTo>
                  <a:pt x="148602" y="1010177"/>
                </a:lnTo>
                <a:lnTo>
                  <a:pt x="151012" y="958065"/>
                </a:lnTo>
                <a:lnTo>
                  <a:pt x="153672" y="904357"/>
                </a:lnTo>
                <a:lnTo>
                  <a:pt x="155649" y="858184"/>
                </a:lnTo>
                <a:lnTo>
                  <a:pt x="156758" y="811585"/>
                </a:lnTo>
                <a:lnTo>
                  <a:pt x="157577" y="764704"/>
                </a:lnTo>
                <a:lnTo>
                  <a:pt x="158684" y="717685"/>
                </a:lnTo>
                <a:lnTo>
                  <a:pt x="160657" y="670674"/>
                </a:lnTo>
                <a:lnTo>
                  <a:pt x="164073" y="623814"/>
                </a:lnTo>
                <a:lnTo>
                  <a:pt x="168716" y="575507"/>
                </a:lnTo>
                <a:lnTo>
                  <a:pt x="174079" y="525313"/>
                </a:lnTo>
                <a:lnTo>
                  <a:pt x="180309" y="475112"/>
                </a:lnTo>
                <a:lnTo>
                  <a:pt x="187548" y="426785"/>
                </a:lnTo>
                <a:lnTo>
                  <a:pt x="195944" y="382211"/>
                </a:lnTo>
                <a:lnTo>
                  <a:pt x="205640" y="343271"/>
                </a:lnTo>
                <a:lnTo>
                  <a:pt x="220825" y="297654"/>
                </a:lnTo>
                <a:lnTo>
                  <a:pt x="237470" y="262753"/>
                </a:lnTo>
                <a:lnTo>
                  <a:pt x="288787" y="197856"/>
                </a:lnTo>
                <a:lnTo>
                  <a:pt x="322457" y="165495"/>
                </a:lnTo>
                <a:lnTo>
                  <a:pt x="364028" y="130751"/>
                </a:lnTo>
                <a:lnTo>
                  <a:pt x="408510" y="96604"/>
                </a:lnTo>
                <a:lnTo>
                  <a:pt x="450912" y="66036"/>
                </a:lnTo>
                <a:lnTo>
                  <a:pt x="486247" y="42027"/>
                </a:lnTo>
                <a:lnTo>
                  <a:pt x="514419" y="22088"/>
                </a:lnTo>
                <a:lnTo>
                  <a:pt x="532361" y="10150"/>
                </a:lnTo>
                <a:lnTo>
                  <a:pt x="553227" y="3736"/>
                </a:lnTo>
                <a:lnTo>
                  <a:pt x="590171" y="371"/>
                </a:lnTo>
                <a:lnTo>
                  <a:pt x="630131" y="0"/>
                </a:lnTo>
                <a:lnTo>
                  <a:pt x="680628" y="1932"/>
                </a:lnTo>
                <a:lnTo>
                  <a:pt x="736321" y="5593"/>
                </a:lnTo>
                <a:lnTo>
                  <a:pt x="791869" y="10408"/>
                </a:lnTo>
                <a:lnTo>
                  <a:pt x="841931" y="15802"/>
                </a:lnTo>
                <a:lnTo>
                  <a:pt x="881166" y="21199"/>
                </a:lnTo>
                <a:lnTo>
                  <a:pt x="919894" y="25185"/>
                </a:lnTo>
                <a:lnTo>
                  <a:pt x="946771" y="25755"/>
                </a:lnTo>
                <a:lnTo>
                  <a:pt x="972024" y="29253"/>
                </a:lnTo>
                <a:lnTo>
                  <a:pt x="1005880" y="42027"/>
                </a:lnTo>
                <a:close/>
              </a:path>
            </a:pathLst>
          </a:custGeom>
          <a:ln w="25908">
            <a:solidFill>
              <a:srgbClr val="28FFFF"/>
            </a:solidFill>
          </a:ln>
        </p:spPr>
        <p:txBody>
          <a:bodyPr wrap="square" lIns="0" tIns="0" rIns="0" bIns="0" rtlCol="0"/>
          <a:lstStyle/>
          <a:p>
            <a:pPr defTabSz="912754"/>
            <a:endParaRPr>
              <a:solidFill>
                <a:srgbClr val="000000"/>
              </a:solidFill>
            </a:endParaRPr>
          </a:p>
        </p:txBody>
      </p:sp>
      <p:sp>
        <p:nvSpPr>
          <p:cNvPr id="45" name="object 43"/>
          <p:cNvSpPr txBox="1"/>
          <p:nvPr/>
        </p:nvSpPr>
        <p:spPr>
          <a:xfrm>
            <a:off x="6856593" y="3750626"/>
            <a:ext cx="751971" cy="276999"/>
          </a:xfrm>
          <a:prstGeom prst="rect">
            <a:avLst/>
          </a:prstGeom>
        </p:spPr>
        <p:txBody>
          <a:bodyPr vert="horz" wrap="square" lIns="0" tIns="0" rIns="0" bIns="0" rtlCol="0">
            <a:spAutoFit/>
          </a:bodyPr>
          <a:lstStyle/>
          <a:p>
            <a:pPr marL="12677" defTabSz="912754"/>
            <a:r>
              <a:rPr spc="140" dirty="0">
                <a:solidFill>
                  <a:srgbClr val="000000"/>
                </a:solidFill>
                <a:cs typeface="Segoe UI Light"/>
              </a:rPr>
              <a:t>y=1</a:t>
            </a:r>
            <a:endParaRPr dirty="0">
              <a:solidFill>
                <a:srgbClr val="000000"/>
              </a:solidFill>
              <a:cs typeface="Segoe UI Light"/>
            </a:endParaRPr>
          </a:p>
        </p:txBody>
      </p:sp>
      <p:sp>
        <p:nvSpPr>
          <p:cNvPr id="46" name="object 44"/>
          <p:cNvSpPr txBox="1"/>
          <p:nvPr/>
        </p:nvSpPr>
        <p:spPr>
          <a:xfrm>
            <a:off x="4129554" y="5940460"/>
            <a:ext cx="598966" cy="276999"/>
          </a:xfrm>
          <a:prstGeom prst="rect">
            <a:avLst/>
          </a:prstGeom>
        </p:spPr>
        <p:txBody>
          <a:bodyPr vert="horz" wrap="square" lIns="0" tIns="0" rIns="0" bIns="0" rtlCol="0">
            <a:spAutoFit/>
          </a:bodyPr>
          <a:lstStyle/>
          <a:p>
            <a:pPr marL="12677" defTabSz="912754"/>
            <a:r>
              <a:rPr spc="-10" dirty="0">
                <a:solidFill>
                  <a:srgbClr val="000000"/>
                </a:solidFill>
                <a:cs typeface="Segoe UI Light"/>
              </a:rPr>
              <a:t>y=0</a:t>
            </a:r>
            <a:endParaRPr dirty="0">
              <a:solidFill>
                <a:srgbClr val="000000"/>
              </a:solidFill>
              <a:cs typeface="Segoe UI Light"/>
            </a:endParaRPr>
          </a:p>
        </p:txBody>
      </p:sp>
      <p:sp>
        <p:nvSpPr>
          <p:cNvPr id="47" name="object 45"/>
          <p:cNvSpPr txBox="1"/>
          <p:nvPr/>
        </p:nvSpPr>
        <p:spPr>
          <a:xfrm>
            <a:off x="6368292" y="5790102"/>
            <a:ext cx="2417413" cy="276999"/>
          </a:xfrm>
          <a:prstGeom prst="rect">
            <a:avLst/>
          </a:prstGeom>
        </p:spPr>
        <p:txBody>
          <a:bodyPr vert="horz" wrap="square" lIns="0" tIns="0" rIns="0" bIns="0" rtlCol="0">
            <a:spAutoFit/>
          </a:bodyPr>
          <a:lstStyle/>
          <a:p>
            <a:pPr marL="12677" defTabSz="912754"/>
            <a:r>
              <a:rPr spc="-5" dirty="0">
                <a:solidFill>
                  <a:srgbClr val="000000"/>
                </a:solidFill>
                <a:cs typeface="Segoe UI Light"/>
              </a:rPr>
              <a:t>Decision</a:t>
            </a:r>
            <a:r>
              <a:rPr spc="-60" dirty="0">
                <a:solidFill>
                  <a:srgbClr val="000000"/>
                </a:solidFill>
                <a:cs typeface="Segoe UI Light"/>
              </a:rPr>
              <a:t> </a:t>
            </a:r>
            <a:r>
              <a:rPr spc="15" dirty="0">
                <a:solidFill>
                  <a:srgbClr val="000000"/>
                </a:solidFill>
                <a:cs typeface="Segoe UI Light"/>
              </a:rPr>
              <a:t>Boundary</a:t>
            </a:r>
            <a:endParaRPr dirty="0">
              <a:solidFill>
                <a:srgbClr val="000000"/>
              </a:solidFill>
              <a:cs typeface="Segoe UI Light"/>
            </a:endParaRPr>
          </a:p>
        </p:txBody>
      </p:sp>
      <p:sp>
        <p:nvSpPr>
          <p:cNvPr id="3" name="TextBox 2"/>
          <p:cNvSpPr txBox="1"/>
          <p:nvPr/>
        </p:nvSpPr>
        <p:spPr>
          <a:xfrm>
            <a:off x="7677087" y="1638727"/>
            <a:ext cx="2662011" cy="3418885"/>
          </a:xfrm>
          <a:prstGeom prst="rect">
            <a:avLst/>
          </a:prstGeom>
          <a:noFill/>
        </p:spPr>
        <p:txBody>
          <a:bodyPr wrap="none" rtlCol="0">
            <a:spAutoFit/>
          </a:bodyPr>
          <a:lstStyle/>
          <a:p>
            <a:pPr marL="12677" defTabSz="912754">
              <a:tabLst>
                <a:tab pos="377145" algn="l"/>
                <a:tab pos="1025581" algn="l"/>
              </a:tabLst>
            </a:pPr>
            <a:r>
              <a:rPr lang="en-US" spc="-5" dirty="0">
                <a:solidFill>
                  <a:srgbClr val="000000"/>
                </a:solidFill>
              </a:rPr>
              <a:t>h</a:t>
            </a:r>
            <a:r>
              <a:rPr lang="en-US" spc="5" dirty="0">
                <a:solidFill>
                  <a:srgbClr val="000000"/>
                </a:solidFill>
              </a:rPr>
              <a:t>(</a:t>
            </a:r>
            <a:r>
              <a:rPr lang="en-US" dirty="0">
                <a:solidFill>
                  <a:srgbClr val="000000"/>
                </a:solidFill>
              </a:rPr>
              <a:t>x)</a:t>
            </a:r>
            <a:r>
              <a:rPr lang="en-US" spc="-30" dirty="0">
                <a:solidFill>
                  <a:srgbClr val="000000"/>
                </a:solidFill>
              </a:rPr>
              <a:t> </a:t>
            </a:r>
            <a:r>
              <a:rPr lang="en-US" dirty="0">
                <a:solidFill>
                  <a:srgbClr val="000000"/>
                </a:solidFill>
              </a:rPr>
              <a:t>= </a:t>
            </a:r>
            <a:r>
              <a:rPr lang="en-US" spc="-5" dirty="0">
                <a:solidFill>
                  <a:srgbClr val="000000"/>
                </a:solidFill>
              </a:rPr>
              <a:t>g</a:t>
            </a:r>
            <a:r>
              <a:rPr lang="en-US" spc="20" dirty="0">
                <a:solidFill>
                  <a:srgbClr val="000000"/>
                </a:solidFill>
              </a:rPr>
              <a:t>(</a:t>
            </a:r>
            <a:r>
              <a:rPr lang="el-GR" spc="-5" dirty="0">
                <a:solidFill>
                  <a:srgbClr val="000000"/>
                </a:solidFill>
              </a:rPr>
              <a:t>θ</a:t>
            </a:r>
            <a:r>
              <a:rPr lang="el-GR" spc="-7" baseline="-20833" dirty="0">
                <a:solidFill>
                  <a:srgbClr val="000000"/>
                </a:solidFill>
              </a:rPr>
              <a:t>0</a:t>
            </a:r>
            <a:r>
              <a:rPr lang="el-GR" dirty="0">
                <a:solidFill>
                  <a:srgbClr val="000000"/>
                </a:solidFill>
                <a:cs typeface="Segoe UI Light"/>
              </a:rPr>
              <a:t>+</a:t>
            </a:r>
            <a:r>
              <a:rPr lang="en-US" dirty="0">
                <a:solidFill>
                  <a:srgbClr val="000000"/>
                </a:solidFill>
                <a:cs typeface="Segoe UI Light"/>
              </a:rPr>
              <a:t> </a:t>
            </a:r>
            <a:r>
              <a:rPr lang="el-GR" spc="125" dirty="0">
                <a:solidFill>
                  <a:srgbClr val="000000"/>
                </a:solidFill>
                <a:cs typeface="Segoe UI Light"/>
              </a:rPr>
              <a:t>θ</a:t>
            </a:r>
            <a:r>
              <a:rPr lang="el-GR" spc="187" baseline="-20833" dirty="0">
                <a:solidFill>
                  <a:srgbClr val="000000"/>
                </a:solidFill>
                <a:cs typeface="Segoe UI Light"/>
              </a:rPr>
              <a:t>1</a:t>
            </a:r>
            <a:r>
              <a:rPr lang="en-US" spc="125" dirty="0">
                <a:solidFill>
                  <a:srgbClr val="000000"/>
                </a:solidFill>
                <a:cs typeface="Segoe UI Light"/>
              </a:rPr>
              <a:t>x</a:t>
            </a:r>
            <a:r>
              <a:rPr lang="en-US" spc="187" baseline="-20833" dirty="0">
                <a:solidFill>
                  <a:srgbClr val="000000"/>
                </a:solidFill>
                <a:cs typeface="Segoe UI Light"/>
              </a:rPr>
              <a:t>1</a:t>
            </a:r>
            <a:r>
              <a:rPr lang="en-US" dirty="0">
                <a:solidFill>
                  <a:srgbClr val="000000"/>
                </a:solidFill>
                <a:cs typeface="Segoe UI Light"/>
              </a:rPr>
              <a:t>+ </a:t>
            </a:r>
            <a:r>
              <a:rPr lang="el-GR" spc="-5" dirty="0">
                <a:solidFill>
                  <a:srgbClr val="000000"/>
                </a:solidFill>
                <a:cs typeface="Segoe UI Light"/>
              </a:rPr>
              <a:t>θ</a:t>
            </a:r>
            <a:r>
              <a:rPr lang="el-GR" spc="-7" baseline="-20833" dirty="0">
                <a:solidFill>
                  <a:srgbClr val="000000"/>
                </a:solidFill>
                <a:cs typeface="Segoe UI Light"/>
              </a:rPr>
              <a:t>2</a:t>
            </a:r>
            <a:r>
              <a:rPr lang="en-US" spc="-5" dirty="0">
                <a:solidFill>
                  <a:srgbClr val="000000"/>
                </a:solidFill>
                <a:cs typeface="Segoe UI Light"/>
              </a:rPr>
              <a:t>x</a:t>
            </a:r>
            <a:r>
              <a:rPr lang="en-US" spc="-7" baseline="-20833" dirty="0">
                <a:solidFill>
                  <a:srgbClr val="000000"/>
                </a:solidFill>
                <a:cs typeface="Segoe UI Light"/>
              </a:rPr>
              <a:t>2</a:t>
            </a:r>
            <a:r>
              <a:rPr lang="en-US" dirty="0">
                <a:solidFill>
                  <a:srgbClr val="000000"/>
                </a:solidFill>
                <a:cs typeface="Segoe UI Light"/>
              </a:rPr>
              <a:t>)</a:t>
            </a:r>
          </a:p>
          <a:p>
            <a:pPr marL="331507" defTabSz="912754">
              <a:spcBef>
                <a:spcPts val="70"/>
              </a:spcBef>
            </a:pPr>
            <a:r>
              <a:rPr lang="en-US" spc="508" dirty="0">
                <a:solidFill>
                  <a:srgbClr val="000000"/>
                </a:solidFill>
                <a:cs typeface="Segoe UI Light"/>
              </a:rPr>
              <a:t>	 -</a:t>
            </a:r>
            <a:r>
              <a:rPr lang="en-US" dirty="0">
                <a:solidFill>
                  <a:srgbClr val="000000"/>
                </a:solidFill>
                <a:cs typeface="Segoe UI Light"/>
              </a:rPr>
              <a:t>3    </a:t>
            </a:r>
            <a:r>
              <a:rPr lang="en-US" spc="504" dirty="0">
                <a:solidFill>
                  <a:srgbClr val="000000"/>
                </a:solidFill>
                <a:cs typeface="Segoe UI Light"/>
              </a:rPr>
              <a:t>1    1</a:t>
            </a:r>
            <a:endParaRPr lang="en-US" dirty="0">
              <a:solidFill>
                <a:srgbClr val="000000"/>
              </a:solidFill>
              <a:cs typeface="Segoe UI Light"/>
            </a:endParaRPr>
          </a:p>
          <a:p>
            <a:pPr marL="12677" defTabSz="912754">
              <a:lnSpc>
                <a:spcPts val="3828"/>
              </a:lnSpc>
              <a:spcBef>
                <a:spcPts val="1338"/>
              </a:spcBef>
              <a:tabLst>
                <a:tab pos="2750939" algn="l"/>
                <a:tab pos="3476706" algn="l"/>
              </a:tabLst>
            </a:pPr>
            <a:r>
              <a:rPr lang="en-US" spc="-10" dirty="0">
                <a:solidFill>
                  <a:srgbClr val="000000"/>
                </a:solidFill>
                <a:cs typeface="Segoe UI Light"/>
              </a:rPr>
              <a:t>predict</a:t>
            </a:r>
            <a:r>
              <a:rPr lang="en-US" spc="-15" dirty="0">
                <a:solidFill>
                  <a:srgbClr val="000000"/>
                </a:solidFill>
                <a:cs typeface="Segoe UI Light"/>
              </a:rPr>
              <a:t> </a:t>
            </a:r>
            <a:r>
              <a:rPr lang="en-US" spc="100" dirty="0">
                <a:solidFill>
                  <a:srgbClr val="000000"/>
                </a:solidFill>
                <a:cs typeface="Segoe UI Light"/>
              </a:rPr>
              <a:t>“y=1”</a:t>
            </a:r>
            <a:r>
              <a:rPr lang="en-US" spc="5" dirty="0">
                <a:solidFill>
                  <a:srgbClr val="000000"/>
                </a:solidFill>
                <a:cs typeface="Segoe UI Light"/>
              </a:rPr>
              <a:t> </a:t>
            </a:r>
          </a:p>
          <a:p>
            <a:pPr marL="12677" defTabSz="912754">
              <a:lnSpc>
                <a:spcPts val="3828"/>
              </a:lnSpc>
              <a:spcBef>
                <a:spcPts val="1338"/>
              </a:spcBef>
              <a:tabLst>
                <a:tab pos="2750939" algn="l"/>
                <a:tab pos="3476706" algn="l"/>
              </a:tabLst>
            </a:pPr>
            <a:r>
              <a:rPr lang="en-US" spc="-5" dirty="0">
                <a:solidFill>
                  <a:srgbClr val="000000"/>
                </a:solidFill>
                <a:cs typeface="Segoe UI Light"/>
              </a:rPr>
              <a:t>if </a:t>
            </a:r>
            <a:r>
              <a:rPr lang="en-US" dirty="0" err="1">
                <a:solidFill>
                  <a:srgbClr val="000000"/>
                </a:solidFill>
                <a:cs typeface="Segoe UI Light"/>
              </a:rPr>
              <a:t>θ</a:t>
            </a:r>
            <a:r>
              <a:rPr lang="en-US" baseline="25525" dirty="0" err="1">
                <a:solidFill>
                  <a:srgbClr val="000000"/>
                </a:solidFill>
                <a:cs typeface="Segoe UI Light"/>
              </a:rPr>
              <a:t>T</a:t>
            </a:r>
            <a:r>
              <a:rPr lang="en-US" baseline="25525" dirty="0">
                <a:solidFill>
                  <a:srgbClr val="000000"/>
                </a:solidFill>
                <a:cs typeface="Segoe UI Light"/>
              </a:rPr>
              <a:t> </a:t>
            </a:r>
            <a:r>
              <a:rPr lang="en-US" spc="-5" dirty="0">
                <a:solidFill>
                  <a:srgbClr val="000000"/>
                </a:solidFill>
                <a:cs typeface="Segoe UI Light"/>
              </a:rPr>
              <a:t>x </a:t>
            </a:r>
            <a:r>
              <a:rPr lang="en-US" dirty="0">
                <a:solidFill>
                  <a:srgbClr val="000000"/>
                </a:solidFill>
                <a:cs typeface="Segoe UI Light"/>
              </a:rPr>
              <a:t>&gt;=</a:t>
            </a:r>
            <a:r>
              <a:rPr lang="en-US" spc="-110" dirty="0">
                <a:solidFill>
                  <a:srgbClr val="000000"/>
                </a:solidFill>
                <a:cs typeface="Segoe UI Light"/>
              </a:rPr>
              <a:t> </a:t>
            </a:r>
            <a:r>
              <a:rPr lang="en-US" dirty="0">
                <a:solidFill>
                  <a:srgbClr val="000000"/>
                </a:solidFill>
                <a:cs typeface="Segoe UI Light"/>
              </a:rPr>
              <a:t>0</a:t>
            </a:r>
          </a:p>
          <a:p>
            <a:pPr marL="12677" defTabSz="912754">
              <a:lnSpc>
                <a:spcPts val="3828"/>
              </a:lnSpc>
              <a:spcBef>
                <a:spcPts val="1338"/>
              </a:spcBef>
              <a:tabLst>
                <a:tab pos="2750939" algn="l"/>
                <a:tab pos="3476706" algn="l"/>
              </a:tabLst>
            </a:pPr>
            <a:r>
              <a:rPr lang="en-US" dirty="0">
                <a:solidFill>
                  <a:srgbClr val="000000"/>
                </a:solidFill>
                <a:cs typeface="Segoe UI Light"/>
              </a:rPr>
              <a:t>-3 + </a:t>
            </a:r>
            <a:r>
              <a:rPr lang="en-US" spc="190" dirty="0">
                <a:solidFill>
                  <a:srgbClr val="000000"/>
                </a:solidFill>
                <a:cs typeface="Segoe UI Light"/>
              </a:rPr>
              <a:t>x1</a:t>
            </a:r>
            <a:r>
              <a:rPr lang="en-US" spc="5" dirty="0">
                <a:solidFill>
                  <a:srgbClr val="000000"/>
                </a:solidFill>
                <a:cs typeface="Segoe UI Light"/>
              </a:rPr>
              <a:t> </a:t>
            </a:r>
            <a:r>
              <a:rPr lang="en-US" dirty="0">
                <a:solidFill>
                  <a:srgbClr val="000000"/>
                </a:solidFill>
                <a:cs typeface="Segoe UI Light"/>
              </a:rPr>
              <a:t>+ x2 &gt;= 0</a:t>
            </a:r>
          </a:p>
          <a:p>
            <a:pPr marL="69090" defTabSz="912754">
              <a:spcBef>
                <a:spcPts val="1872"/>
              </a:spcBef>
            </a:pPr>
            <a:r>
              <a:rPr lang="en-US" dirty="0">
                <a:solidFill>
                  <a:srgbClr val="000000"/>
                </a:solidFill>
                <a:cs typeface="Segoe UI Light"/>
              </a:rPr>
              <a:t>Plot </a:t>
            </a:r>
            <a:r>
              <a:rPr lang="en-US" spc="140" dirty="0">
                <a:solidFill>
                  <a:srgbClr val="000000"/>
                </a:solidFill>
                <a:cs typeface="Segoe UI Light"/>
              </a:rPr>
              <a:t>x1 </a:t>
            </a:r>
            <a:r>
              <a:rPr lang="en-US" dirty="0">
                <a:solidFill>
                  <a:srgbClr val="000000"/>
                </a:solidFill>
                <a:cs typeface="Segoe UI Light"/>
              </a:rPr>
              <a:t>+ x2 =</a:t>
            </a:r>
            <a:r>
              <a:rPr lang="en-US" spc="-260" dirty="0">
                <a:solidFill>
                  <a:srgbClr val="000000"/>
                </a:solidFill>
                <a:cs typeface="Segoe UI Light"/>
              </a:rPr>
              <a:t> </a:t>
            </a:r>
            <a:r>
              <a:rPr lang="en-US" dirty="0">
                <a:solidFill>
                  <a:srgbClr val="000000"/>
                </a:solidFill>
                <a:cs typeface="Segoe UI Light"/>
              </a:rPr>
              <a:t>3</a:t>
            </a:r>
          </a:p>
          <a:p>
            <a:pPr defTabSz="912754"/>
            <a:endParaRPr lang="en-US" dirty="0">
              <a:solidFill>
                <a:srgbClr val="000000"/>
              </a:solidFill>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39</a:t>
            </a:fld>
            <a:endParaRPr lang="en-US"/>
          </a:p>
        </p:txBody>
      </p:sp>
    </p:spTree>
    <p:extLst>
      <p:ext uri="{BB962C8B-B14F-4D97-AF65-F5344CB8AC3E}">
        <p14:creationId xmlns:p14="http://schemas.microsoft.com/office/powerpoint/2010/main" val="28417373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latin typeface="Segoe UI Light" panose="020B0502040204020203" pitchFamily="34" charset="0"/>
                <a:cs typeface="Segoe UI Light" panose="020B0502040204020203" pitchFamily="34" charset="0"/>
              </a:rPr>
              <a:t>Mathematical and Statistical Ways for Machine Learning</a:t>
            </a:r>
            <a:br>
              <a:rPr lang="en-US" sz="1597" dirty="0">
                <a:latin typeface="Segoe UI Light" panose="020B0502040204020203" pitchFamily="34" charset="0"/>
                <a:cs typeface="Segoe UI Light" panose="020B0502040204020203" pitchFamily="34" charset="0"/>
              </a:rPr>
            </a:br>
            <a:br>
              <a:rPr lang="en-US" sz="1597" dirty="0">
                <a:latin typeface="Segoe UI Light" panose="020B0502040204020203" pitchFamily="34" charset="0"/>
                <a:cs typeface="Segoe UI Light" panose="020B0502040204020203" pitchFamily="34" charset="0"/>
              </a:rPr>
            </a:br>
            <a:br>
              <a:rPr lang="en-US" sz="2795" dirty="0">
                <a:latin typeface="Segoe UI Light" panose="020B0502040204020203" pitchFamily="34" charset="0"/>
                <a:cs typeface="Segoe UI Light" panose="020B0502040204020203" pitchFamily="34" charset="0"/>
              </a:rPr>
            </a:br>
            <a:r>
              <a:rPr lang="en-US" sz="2795" dirty="0">
                <a:latin typeface="Segoe UI Light" panose="020B0502040204020203" pitchFamily="34" charset="0"/>
                <a:cs typeface="Segoe UI Light" panose="020B0502040204020203" pitchFamily="34" charset="0"/>
              </a:rPr>
              <a:t>            </a:t>
            </a:r>
            <a:r>
              <a:rPr lang="en-US" sz="2396" dirty="0">
                <a:solidFill>
                  <a:schemeClr val="tx1"/>
                </a:solidFill>
                <a:latin typeface="Segoe UI Light" panose="020B0502040204020203" pitchFamily="34" charset="0"/>
                <a:cs typeface="Segoe UI Light" panose="020B0502040204020203" pitchFamily="34" charset="0"/>
              </a:rPr>
              <a:t>Linear Regression </a:t>
            </a:r>
          </a:p>
        </p:txBody>
      </p:sp>
      <p:sp>
        <p:nvSpPr>
          <p:cNvPr id="37" name="object 2"/>
          <p:cNvSpPr txBox="1"/>
          <p:nvPr/>
        </p:nvSpPr>
        <p:spPr>
          <a:xfrm>
            <a:off x="5316529" y="4159665"/>
            <a:ext cx="76494" cy="152118"/>
          </a:xfrm>
          <a:prstGeom prst="rect">
            <a:avLst/>
          </a:prstGeom>
        </p:spPr>
        <p:txBody>
          <a:bodyPr wrap="square" lIns="0" tIns="0" rIns="0" bIns="0" rtlCol="0">
            <a:noAutofit/>
          </a:bodyPr>
          <a:lstStyle/>
          <a:p>
            <a:pPr marL="25354" defTabSz="912754">
              <a:lnSpc>
                <a:spcPts val="998"/>
              </a:lnSpc>
            </a:pPr>
            <a:endParaRPr sz="998">
              <a:solidFill>
                <a:srgbClr val="000000"/>
              </a:solidFill>
              <a:latin typeface="Segoe UI Light" panose="020B0502040204020203" pitchFamily="34" charset="0"/>
              <a:cs typeface="Segoe UI Light" panose="020B0502040204020203" pitchFamily="34" charset="0"/>
            </a:endParaRPr>
          </a:p>
        </p:txBody>
      </p:sp>
      <p:sp>
        <p:nvSpPr>
          <p:cNvPr id="38" name="object 4"/>
          <p:cNvSpPr/>
          <p:nvPr/>
        </p:nvSpPr>
        <p:spPr>
          <a:xfrm>
            <a:off x="4685104" y="1563276"/>
            <a:ext cx="1799558" cy="900540"/>
          </a:xfrm>
          <a:prstGeom prst="rect">
            <a:avLst/>
          </a:prstGeom>
          <a:blipFill>
            <a:blip r:embed="rId3" cstate="print"/>
            <a:stretch>
              <a:fillRect/>
            </a:stretch>
          </a:blip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2" name="TextBox 1"/>
          <p:cNvSpPr txBox="1"/>
          <p:nvPr/>
        </p:nvSpPr>
        <p:spPr>
          <a:xfrm>
            <a:off x="1976619" y="2922935"/>
            <a:ext cx="2583656" cy="461024"/>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Logistic</a:t>
            </a:r>
            <a:r>
              <a:rPr lang="en-US" sz="2396" spc="-70" dirty="0">
                <a:solidFill>
                  <a:srgbClr val="000000"/>
                </a:solidFill>
                <a:latin typeface="Segoe UI Light" panose="020B0502040204020203" pitchFamily="34" charset="0"/>
                <a:cs typeface="Segoe UI Light" panose="020B0502040204020203" pitchFamily="34" charset="0"/>
              </a:rPr>
              <a:t> </a:t>
            </a:r>
            <a:r>
              <a:rPr lang="en-US" sz="2396" spc="-15" dirty="0">
                <a:solidFill>
                  <a:srgbClr val="000000"/>
                </a:solidFill>
                <a:latin typeface="Segoe UI Light" panose="020B0502040204020203" pitchFamily="34" charset="0"/>
                <a:cs typeface="Segoe UI Light" panose="020B0502040204020203" pitchFamily="34" charset="0"/>
              </a:rPr>
              <a:t>Regression</a:t>
            </a:r>
            <a:endParaRPr lang="en-US" sz="2396" dirty="0">
              <a:solidFill>
                <a:srgbClr val="000000"/>
              </a:solidFill>
              <a:latin typeface="Segoe UI Light" panose="020B0502040204020203" pitchFamily="34" charset="0"/>
              <a:cs typeface="Segoe UI Light" panose="020B0502040204020203" pitchFamily="34" charset="0"/>
            </a:endParaRPr>
          </a:p>
        </p:txBody>
      </p:sp>
      <p:sp>
        <p:nvSpPr>
          <p:cNvPr id="39" name="object 5"/>
          <p:cNvSpPr/>
          <p:nvPr/>
        </p:nvSpPr>
        <p:spPr>
          <a:xfrm>
            <a:off x="4685103" y="2934392"/>
            <a:ext cx="1799559" cy="1198691"/>
          </a:xfrm>
          <a:prstGeom prst="rect">
            <a:avLst/>
          </a:prstGeom>
          <a:blipFill>
            <a:blip r:embed="rId4" cstate="print"/>
            <a:stretch>
              <a:fillRect/>
            </a:stretch>
          </a:blip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2007932" y="4569888"/>
            <a:ext cx="1468672" cy="461024"/>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Clustering</a:t>
            </a:r>
          </a:p>
        </p:txBody>
      </p:sp>
      <p:sp>
        <p:nvSpPr>
          <p:cNvPr id="40" name="object 8"/>
          <p:cNvSpPr/>
          <p:nvPr/>
        </p:nvSpPr>
        <p:spPr>
          <a:xfrm>
            <a:off x="4685103" y="4533087"/>
            <a:ext cx="2233096" cy="1743276"/>
          </a:xfrm>
          <a:prstGeom prst="rect">
            <a:avLst/>
          </a:prstGeom>
          <a:blipFill>
            <a:blip r:embed="rId5" cstate="print"/>
            <a:stretch>
              <a:fillRect/>
            </a:stretch>
          </a:blip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8" name="TextBox 7"/>
          <p:cNvSpPr txBox="1"/>
          <p:nvPr/>
        </p:nvSpPr>
        <p:spPr>
          <a:xfrm>
            <a:off x="7084770" y="2458582"/>
            <a:ext cx="1991058" cy="461024"/>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Decision Trees</a:t>
            </a:r>
          </a:p>
        </p:txBody>
      </p:sp>
      <p:pic>
        <p:nvPicPr>
          <p:cNvPr id="41" name="Picture 40"/>
          <p:cNvPicPr>
            <a:picLocks noChangeAspect="1"/>
          </p:cNvPicPr>
          <p:nvPr/>
        </p:nvPicPr>
        <p:blipFill>
          <a:blip r:embed="rId6"/>
          <a:stretch>
            <a:fillRect/>
          </a:stretch>
        </p:blipFill>
        <p:spPr>
          <a:xfrm>
            <a:off x="7769301" y="3054657"/>
            <a:ext cx="2415848" cy="1515230"/>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4</a:t>
            </a:fld>
            <a:endParaRPr lang="en-US"/>
          </a:p>
        </p:txBody>
      </p:sp>
    </p:spTree>
    <p:extLst>
      <p:ext uri="{BB962C8B-B14F-4D97-AF65-F5344CB8AC3E}">
        <p14:creationId xmlns:p14="http://schemas.microsoft.com/office/powerpoint/2010/main" val="218680133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Non-Linear Decision Boundary</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17" name="object 3"/>
          <p:cNvSpPr/>
          <p:nvPr/>
        </p:nvSpPr>
        <p:spPr>
          <a:xfrm>
            <a:off x="4550857" y="3366506"/>
            <a:ext cx="395508" cy="397409"/>
          </a:xfrm>
          <a:custGeom>
            <a:avLst/>
            <a:gdLst/>
            <a:ahLst/>
            <a:cxnLst/>
            <a:rect l="l" t="t" r="r" b="b"/>
            <a:pathLst>
              <a:path w="396239" h="398145">
                <a:moveTo>
                  <a:pt x="0" y="198882"/>
                </a:moveTo>
                <a:lnTo>
                  <a:pt x="5229" y="153275"/>
                </a:lnTo>
                <a:lnTo>
                  <a:pt x="20127" y="111411"/>
                </a:lnTo>
                <a:lnTo>
                  <a:pt x="43507" y="74484"/>
                </a:lnTo>
                <a:lnTo>
                  <a:pt x="74182" y="43687"/>
                </a:lnTo>
                <a:lnTo>
                  <a:pt x="110967" y="20211"/>
                </a:lnTo>
                <a:lnTo>
                  <a:pt x="152675" y="5251"/>
                </a:lnTo>
                <a:lnTo>
                  <a:pt x="198120" y="0"/>
                </a:lnTo>
                <a:lnTo>
                  <a:pt x="243564" y="5251"/>
                </a:lnTo>
                <a:lnTo>
                  <a:pt x="285272" y="20211"/>
                </a:lnTo>
                <a:lnTo>
                  <a:pt x="322057" y="43687"/>
                </a:lnTo>
                <a:lnTo>
                  <a:pt x="352732" y="74484"/>
                </a:lnTo>
                <a:lnTo>
                  <a:pt x="376112" y="111411"/>
                </a:lnTo>
                <a:lnTo>
                  <a:pt x="391010" y="153275"/>
                </a:lnTo>
                <a:lnTo>
                  <a:pt x="396240" y="198882"/>
                </a:lnTo>
                <a:lnTo>
                  <a:pt x="391010" y="244488"/>
                </a:lnTo>
                <a:lnTo>
                  <a:pt x="376112" y="286352"/>
                </a:lnTo>
                <a:lnTo>
                  <a:pt x="352732" y="323279"/>
                </a:lnTo>
                <a:lnTo>
                  <a:pt x="322057" y="354076"/>
                </a:lnTo>
                <a:lnTo>
                  <a:pt x="285272" y="377552"/>
                </a:lnTo>
                <a:lnTo>
                  <a:pt x="243564" y="392512"/>
                </a:lnTo>
                <a:lnTo>
                  <a:pt x="198120" y="397764"/>
                </a:lnTo>
                <a:lnTo>
                  <a:pt x="152675" y="392512"/>
                </a:lnTo>
                <a:lnTo>
                  <a:pt x="110967" y="377552"/>
                </a:lnTo>
                <a:lnTo>
                  <a:pt x="74182" y="354076"/>
                </a:lnTo>
                <a:lnTo>
                  <a:pt x="43507" y="323279"/>
                </a:lnTo>
                <a:lnTo>
                  <a:pt x="20127" y="286352"/>
                </a:lnTo>
                <a:lnTo>
                  <a:pt x="5229" y="244488"/>
                </a:lnTo>
                <a:lnTo>
                  <a:pt x="0" y="198882"/>
                </a:lnTo>
                <a:close/>
              </a:path>
            </a:pathLst>
          </a:custGeom>
          <a:ln w="44196">
            <a:solidFill>
              <a:srgbClr val="FF9B66"/>
            </a:solidFill>
          </a:ln>
        </p:spPr>
        <p:txBody>
          <a:bodyPr wrap="square" lIns="0" tIns="0" rIns="0" bIns="0" rtlCol="0"/>
          <a:lstStyle/>
          <a:p>
            <a:pPr defTabSz="912754"/>
            <a:endParaRPr>
              <a:solidFill>
                <a:prstClr val="black"/>
              </a:solidFill>
            </a:endParaRPr>
          </a:p>
        </p:txBody>
      </p:sp>
      <p:sp>
        <p:nvSpPr>
          <p:cNvPr id="18" name="object 4"/>
          <p:cNvSpPr/>
          <p:nvPr/>
        </p:nvSpPr>
        <p:spPr>
          <a:xfrm>
            <a:off x="3487551" y="3097256"/>
            <a:ext cx="397409" cy="397409"/>
          </a:xfrm>
          <a:custGeom>
            <a:avLst/>
            <a:gdLst/>
            <a:ahLst/>
            <a:cxnLst/>
            <a:rect l="l" t="t" r="r" b="b"/>
            <a:pathLst>
              <a:path w="398145" h="398145">
                <a:moveTo>
                  <a:pt x="0" y="198882"/>
                </a:moveTo>
                <a:lnTo>
                  <a:pt x="5251" y="153275"/>
                </a:lnTo>
                <a:lnTo>
                  <a:pt x="20211" y="111411"/>
                </a:lnTo>
                <a:lnTo>
                  <a:pt x="43687" y="74484"/>
                </a:lnTo>
                <a:lnTo>
                  <a:pt x="74484" y="43687"/>
                </a:lnTo>
                <a:lnTo>
                  <a:pt x="111411" y="20211"/>
                </a:lnTo>
                <a:lnTo>
                  <a:pt x="153275" y="5251"/>
                </a:lnTo>
                <a:lnTo>
                  <a:pt x="198882" y="0"/>
                </a:lnTo>
                <a:lnTo>
                  <a:pt x="244488" y="5251"/>
                </a:lnTo>
                <a:lnTo>
                  <a:pt x="286352" y="20211"/>
                </a:lnTo>
                <a:lnTo>
                  <a:pt x="323279" y="43687"/>
                </a:lnTo>
                <a:lnTo>
                  <a:pt x="354076" y="74484"/>
                </a:lnTo>
                <a:lnTo>
                  <a:pt x="377552" y="111411"/>
                </a:lnTo>
                <a:lnTo>
                  <a:pt x="392512" y="153275"/>
                </a:lnTo>
                <a:lnTo>
                  <a:pt x="397763" y="198882"/>
                </a:lnTo>
                <a:lnTo>
                  <a:pt x="392512" y="244488"/>
                </a:lnTo>
                <a:lnTo>
                  <a:pt x="377552" y="286352"/>
                </a:lnTo>
                <a:lnTo>
                  <a:pt x="354076" y="323279"/>
                </a:lnTo>
                <a:lnTo>
                  <a:pt x="323279" y="354076"/>
                </a:lnTo>
                <a:lnTo>
                  <a:pt x="286352" y="377552"/>
                </a:lnTo>
                <a:lnTo>
                  <a:pt x="244488" y="392512"/>
                </a:lnTo>
                <a:lnTo>
                  <a:pt x="198882" y="397763"/>
                </a:lnTo>
                <a:lnTo>
                  <a:pt x="153275" y="392512"/>
                </a:lnTo>
                <a:lnTo>
                  <a:pt x="111411" y="377552"/>
                </a:lnTo>
                <a:lnTo>
                  <a:pt x="74484" y="354076"/>
                </a:lnTo>
                <a:lnTo>
                  <a:pt x="43687" y="323279"/>
                </a:lnTo>
                <a:lnTo>
                  <a:pt x="20211" y="286352"/>
                </a:lnTo>
                <a:lnTo>
                  <a:pt x="5251" y="244488"/>
                </a:lnTo>
                <a:lnTo>
                  <a:pt x="0" y="198882"/>
                </a:lnTo>
                <a:close/>
              </a:path>
            </a:pathLst>
          </a:custGeom>
          <a:ln w="44196">
            <a:solidFill>
              <a:srgbClr val="FF9B66"/>
            </a:solidFill>
          </a:ln>
        </p:spPr>
        <p:txBody>
          <a:bodyPr wrap="square" lIns="0" tIns="0" rIns="0" bIns="0" rtlCol="0"/>
          <a:lstStyle/>
          <a:p>
            <a:pPr defTabSz="912754"/>
            <a:endParaRPr>
              <a:solidFill>
                <a:prstClr val="black"/>
              </a:solidFill>
            </a:endParaRPr>
          </a:p>
        </p:txBody>
      </p:sp>
      <p:sp>
        <p:nvSpPr>
          <p:cNvPr id="19" name="object 5"/>
          <p:cNvSpPr/>
          <p:nvPr/>
        </p:nvSpPr>
        <p:spPr>
          <a:xfrm>
            <a:off x="3320222" y="3917175"/>
            <a:ext cx="397409" cy="397409"/>
          </a:xfrm>
          <a:custGeom>
            <a:avLst/>
            <a:gdLst/>
            <a:ahLst/>
            <a:cxnLst/>
            <a:rect l="l" t="t" r="r" b="b"/>
            <a:pathLst>
              <a:path w="398144" h="398145">
                <a:moveTo>
                  <a:pt x="0" y="198882"/>
                </a:moveTo>
                <a:lnTo>
                  <a:pt x="5251" y="153275"/>
                </a:lnTo>
                <a:lnTo>
                  <a:pt x="20211" y="111411"/>
                </a:lnTo>
                <a:lnTo>
                  <a:pt x="43687" y="74484"/>
                </a:lnTo>
                <a:lnTo>
                  <a:pt x="74484" y="43687"/>
                </a:lnTo>
                <a:lnTo>
                  <a:pt x="111411" y="20211"/>
                </a:lnTo>
                <a:lnTo>
                  <a:pt x="153275" y="5251"/>
                </a:lnTo>
                <a:lnTo>
                  <a:pt x="198881" y="0"/>
                </a:lnTo>
                <a:lnTo>
                  <a:pt x="244488" y="5251"/>
                </a:lnTo>
                <a:lnTo>
                  <a:pt x="286352" y="20211"/>
                </a:lnTo>
                <a:lnTo>
                  <a:pt x="323279" y="43687"/>
                </a:lnTo>
                <a:lnTo>
                  <a:pt x="354076" y="74484"/>
                </a:lnTo>
                <a:lnTo>
                  <a:pt x="377552" y="111411"/>
                </a:lnTo>
                <a:lnTo>
                  <a:pt x="392512" y="153275"/>
                </a:lnTo>
                <a:lnTo>
                  <a:pt x="397763" y="198882"/>
                </a:lnTo>
                <a:lnTo>
                  <a:pt x="392512" y="244488"/>
                </a:lnTo>
                <a:lnTo>
                  <a:pt x="377552" y="286352"/>
                </a:lnTo>
                <a:lnTo>
                  <a:pt x="354076" y="323279"/>
                </a:lnTo>
                <a:lnTo>
                  <a:pt x="323279" y="354076"/>
                </a:lnTo>
                <a:lnTo>
                  <a:pt x="286352" y="377552"/>
                </a:lnTo>
                <a:lnTo>
                  <a:pt x="244488" y="392512"/>
                </a:lnTo>
                <a:lnTo>
                  <a:pt x="198881" y="397764"/>
                </a:lnTo>
                <a:lnTo>
                  <a:pt x="153275" y="392512"/>
                </a:lnTo>
                <a:lnTo>
                  <a:pt x="111411" y="377552"/>
                </a:lnTo>
                <a:lnTo>
                  <a:pt x="74484" y="354076"/>
                </a:lnTo>
                <a:lnTo>
                  <a:pt x="43687" y="323279"/>
                </a:lnTo>
                <a:lnTo>
                  <a:pt x="20211" y="286352"/>
                </a:lnTo>
                <a:lnTo>
                  <a:pt x="5251" y="244488"/>
                </a:lnTo>
                <a:lnTo>
                  <a:pt x="0" y="198882"/>
                </a:lnTo>
                <a:close/>
              </a:path>
            </a:pathLst>
          </a:custGeom>
          <a:ln w="44196">
            <a:solidFill>
              <a:srgbClr val="FF9B66"/>
            </a:solidFill>
          </a:ln>
        </p:spPr>
        <p:txBody>
          <a:bodyPr wrap="square" lIns="0" tIns="0" rIns="0" bIns="0" rtlCol="0"/>
          <a:lstStyle/>
          <a:p>
            <a:pPr defTabSz="912754"/>
            <a:endParaRPr>
              <a:solidFill>
                <a:prstClr val="black"/>
              </a:solidFill>
            </a:endParaRPr>
          </a:p>
        </p:txBody>
      </p:sp>
      <p:sp>
        <p:nvSpPr>
          <p:cNvPr id="20" name="object 6"/>
          <p:cNvSpPr/>
          <p:nvPr/>
        </p:nvSpPr>
        <p:spPr>
          <a:xfrm>
            <a:off x="3531665" y="4794896"/>
            <a:ext cx="385366" cy="429100"/>
          </a:xfrm>
          <a:custGeom>
            <a:avLst/>
            <a:gdLst/>
            <a:ahLst/>
            <a:cxnLst/>
            <a:rect l="l" t="t" r="r" b="b"/>
            <a:pathLst>
              <a:path w="386079" h="429895">
                <a:moveTo>
                  <a:pt x="0" y="214884"/>
                </a:moveTo>
                <a:lnTo>
                  <a:pt x="5094" y="165631"/>
                </a:lnTo>
                <a:lnTo>
                  <a:pt x="19603" y="120409"/>
                </a:lnTo>
                <a:lnTo>
                  <a:pt x="42367" y="80509"/>
                </a:lnTo>
                <a:lnTo>
                  <a:pt x="72227" y="47226"/>
                </a:lnTo>
                <a:lnTo>
                  <a:pt x="108024" y="21851"/>
                </a:lnTo>
                <a:lnTo>
                  <a:pt x="148596" y="5678"/>
                </a:lnTo>
                <a:lnTo>
                  <a:pt x="192786" y="0"/>
                </a:lnTo>
                <a:lnTo>
                  <a:pt x="236975" y="5678"/>
                </a:lnTo>
                <a:lnTo>
                  <a:pt x="277547" y="21851"/>
                </a:lnTo>
                <a:lnTo>
                  <a:pt x="313344" y="47226"/>
                </a:lnTo>
                <a:lnTo>
                  <a:pt x="343204" y="80509"/>
                </a:lnTo>
                <a:lnTo>
                  <a:pt x="365968" y="120409"/>
                </a:lnTo>
                <a:lnTo>
                  <a:pt x="380477" y="165631"/>
                </a:lnTo>
                <a:lnTo>
                  <a:pt x="385572" y="214884"/>
                </a:lnTo>
                <a:lnTo>
                  <a:pt x="380477" y="264136"/>
                </a:lnTo>
                <a:lnTo>
                  <a:pt x="365968" y="309358"/>
                </a:lnTo>
                <a:lnTo>
                  <a:pt x="343204" y="349258"/>
                </a:lnTo>
                <a:lnTo>
                  <a:pt x="313344" y="382541"/>
                </a:lnTo>
                <a:lnTo>
                  <a:pt x="277547" y="407916"/>
                </a:lnTo>
                <a:lnTo>
                  <a:pt x="236975" y="424089"/>
                </a:lnTo>
                <a:lnTo>
                  <a:pt x="192786" y="429768"/>
                </a:lnTo>
                <a:lnTo>
                  <a:pt x="148596" y="424089"/>
                </a:lnTo>
                <a:lnTo>
                  <a:pt x="108024" y="407916"/>
                </a:lnTo>
                <a:lnTo>
                  <a:pt x="72227" y="382541"/>
                </a:lnTo>
                <a:lnTo>
                  <a:pt x="42367" y="349258"/>
                </a:lnTo>
                <a:lnTo>
                  <a:pt x="19603" y="309358"/>
                </a:lnTo>
                <a:lnTo>
                  <a:pt x="5094" y="264136"/>
                </a:lnTo>
                <a:lnTo>
                  <a:pt x="0" y="214884"/>
                </a:lnTo>
                <a:close/>
              </a:path>
            </a:pathLst>
          </a:custGeom>
          <a:ln w="44195">
            <a:solidFill>
              <a:srgbClr val="FF9B66"/>
            </a:solidFill>
          </a:ln>
        </p:spPr>
        <p:txBody>
          <a:bodyPr wrap="square" lIns="0" tIns="0" rIns="0" bIns="0" rtlCol="0"/>
          <a:lstStyle/>
          <a:p>
            <a:pPr defTabSz="912754"/>
            <a:endParaRPr>
              <a:solidFill>
                <a:prstClr val="black"/>
              </a:solidFill>
            </a:endParaRPr>
          </a:p>
        </p:txBody>
      </p:sp>
      <p:sp>
        <p:nvSpPr>
          <p:cNvPr id="21" name="object 7"/>
          <p:cNvSpPr/>
          <p:nvPr/>
        </p:nvSpPr>
        <p:spPr>
          <a:xfrm>
            <a:off x="4981353" y="1921762"/>
            <a:ext cx="396775" cy="396141"/>
          </a:xfrm>
          <a:custGeom>
            <a:avLst/>
            <a:gdLst/>
            <a:ahLst/>
            <a:cxnLst/>
            <a:rect l="l" t="t" r="r" b="b"/>
            <a:pathLst>
              <a:path w="397510" h="396875">
                <a:moveTo>
                  <a:pt x="248279" y="223646"/>
                </a:moveTo>
                <a:lnTo>
                  <a:pt x="198246" y="223646"/>
                </a:lnTo>
                <a:lnTo>
                  <a:pt x="368173" y="396875"/>
                </a:lnTo>
                <a:lnTo>
                  <a:pt x="393573" y="371982"/>
                </a:lnTo>
                <a:lnTo>
                  <a:pt x="248279" y="223646"/>
                </a:lnTo>
                <a:close/>
              </a:path>
              <a:path w="397510" h="396875">
                <a:moveTo>
                  <a:pt x="28955" y="0"/>
                </a:moveTo>
                <a:lnTo>
                  <a:pt x="3428" y="24891"/>
                </a:lnTo>
                <a:lnTo>
                  <a:pt x="173354" y="198119"/>
                </a:lnTo>
                <a:lnTo>
                  <a:pt x="0" y="368045"/>
                </a:lnTo>
                <a:lnTo>
                  <a:pt x="25018" y="393445"/>
                </a:lnTo>
                <a:lnTo>
                  <a:pt x="198246" y="223646"/>
                </a:lnTo>
                <a:lnTo>
                  <a:pt x="248279" y="223646"/>
                </a:lnTo>
                <a:lnTo>
                  <a:pt x="223774" y="198627"/>
                </a:lnTo>
                <a:lnTo>
                  <a:pt x="249686" y="173227"/>
                </a:lnTo>
                <a:lnTo>
                  <a:pt x="198754" y="173227"/>
                </a:lnTo>
                <a:lnTo>
                  <a:pt x="28955" y="0"/>
                </a:lnTo>
                <a:close/>
              </a:path>
              <a:path w="397510" h="396875">
                <a:moveTo>
                  <a:pt x="371982" y="3428"/>
                </a:moveTo>
                <a:lnTo>
                  <a:pt x="198754" y="173227"/>
                </a:lnTo>
                <a:lnTo>
                  <a:pt x="249686" y="173227"/>
                </a:lnTo>
                <a:lnTo>
                  <a:pt x="397001" y="28828"/>
                </a:lnTo>
                <a:lnTo>
                  <a:pt x="371982" y="3428"/>
                </a:lnTo>
                <a:close/>
              </a:path>
            </a:pathLst>
          </a:custGeom>
          <a:solidFill>
            <a:srgbClr val="000000"/>
          </a:solidFill>
        </p:spPr>
        <p:txBody>
          <a:bodyPr wrap="square" lIns="0" tIns="0" rIns="0" bIns="0" rtlCol="0"/>
          <a:lstStyle/>
          <a:p>
            <a:pPr defTabSz="912754"/>
            <a:endParaRPr>
              <a:solidFill>
                <a:prstClr val="black"/>
              </a:solidFill>
            </a:endParaRPr>
          </a:p>
        </p:txBody>
      </p:sp>
      <p:sp>
        <p:nvSpPr>
          <p:cNvPr id="22" name="object 8"/>
          <p:cNvSpPr/>
          <p:nvPr/>
        </p:nvSpPr>
        <p:spPr>
          <a:xfrm>
            <a:off x="4981353" y="1921762"/>
            <a:ext cx="396775" cy="396141"/>
          </a:xfrm>
          <a:custGeom>
            <a:avLst/>
            <a:gdLst/>
            <a:ahLst/>
            <a:cxnLst/>
            <a:rect l="l" t="t" r="r" b="b"/>
            <a:pathLst>
              <a:path w="397510" h="396875">
                <a:moveTo>
                  <a:pt x="28955" y="0"/>
                </a:moveTo>
                <a:lnTo>
                  <a:pt x="198754" y="173227"/>
                </a:lnTo>
                <a:lnTo>
                  <a:pt x="371982" y="3428"/>
                </a:lnTo>
                <a:lnTo>
                  <a:pt x="397001" y="28828"/>
                </a:lnTo>
                <a:lnTo>
                  <a:pt x="223774" y="198627"/>
                </a:lnTo>
                <a:lnTo>
                  <a:pt x="393573" y="371982"/>
                </a:lnTo>
                <a:lnTo>
                  <a:pt x="368173" y="396875"/>
                </a:lnTo>
                <a:lnTo>
                  <a:pt x="198246" y="223646"/>
                </a:lnTo>
                <a:lnTo>
                  <a:pt x="25018" y="393445"/>
                </a:lnTo>
                <a:lnTo>
                  <a:pt x="0" y="368045"/>
                </a:lnTo>
                <a:lnTo>
                  <a:pt x="173354" y="198119"/>
                </a:lnTo>
                <a:lnTo>
                  <a:pt x="3428" y="24891"/>
                </a:lnTo>
                <a:lnTo>
                  <a:pt x="28955"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23" name="object 9"/>
          <p:cNvSpPr/>
          <p:nvPr/>
        </p:nvSpPr>
        <p:spPr>
          <a:xfrm>
            <a:off x="5903316" y="5159092"/>
            <a:ext cx="396775" cy="396775"/>
          </a:xfrm>
          <a:custGeom>
            <a:avLst/>
            <a:gdLst/>
            <a:ahLst/>
            <a:cxnLst/>
            <a:rect l="l" t="t" r="r" b="b"/>
            <a:pathLst>
              <a:path w="397510" h="397510">
                <a:moveTo>
                  <a:pt x="248181" y="223773"/>
                </a:moveTo>
                <a:lnTo>
                  <a:pt x="198247" y="223773"/>
                </a:lnTo>
                <a:lnTo>
                  <a:pt x="368046" y="396989"/>
                </a:lnTo>
                <a:lnTo>
                  <a:pt x="393573" y="372033"/>
                </a:lnTo>
                <a:lnTo>
                  <a:pt x="248181" y="223773"/>
                </a:lnTo>
                <a:close/>
              </a:path>
              <a:path w="397510" h="397510">
                <a:moveTo>
                  <a:pt x="28829" y="0"/>
                </a:moveTo>
                <a:lnTo>
                  <a:pt x="3429" y="25018"/>
                </a:lnTo>
                <a:lnTo>
                  <a:pt x="173228" y="198246"/>
                </a:lnTo>
                <a:lnTo>
                  <a:pt x="0" y="368109"/>
                </a:lnTo>
                <a:lnTo>
                  <a:pt x="24892" y="393560"/>
                </a:lnTo>
                <a:lnTo>
                  <a:pt x="198247" y="223773"/>
                </a:lnTo>
                <a:lnTo>
                  <a:pt x="248181" y="223773"/>
                </a:lnTo>
                <a:lnTo>
                  <a:pt x="223647" y="198754"/>
                </a:lnTo>
                <a:lnTo>
                  <a:pt x="249578" y="173354"/>
                </a:lnTo>
                <a:lnTo>
                  <a:pt x="198755" y="173354"/>
                </a:lnTo>
                <a:lnTo>
                  <a:pt x="28829" y="0"/>
                </a:lnTo>
                <a:close/>
              </a:path>
              <a:path w="397510" h="397510">
                <a:moveTo>
                  <a:pt x="371983" y="3428"/>
                </a:moveTo>
                <a:lnTo>
                  <a:pt x="198755" y="173354"/>
                </a:lnTo>
                <a:lnTo>
                  <a:pt x="249578" y="173354"/>
                </a:lnTo>
                <a:lnTo>
                  <a:pt x="397002" y="28955"/>
                </a:lnTo>
                <a:lnTo>
                  <a:pt x="371983" y="3428"/>
                </a:lnTo>
                <a:close/>
              </a:path>
            </a:pathLst>
          </a:custGeom>
          <a:solidFill>
            <a:srgbClr val="000000"/>
          </a:solidFill>
        </p:spPr>
        <p:txBody>
          <a:bodyPr wrap="square" lIns="0" tIns="0" rIns="0" bIns="0" rtlCol="0"/>
          <a:lstStyle/>
          <a:p>
            <a:pPr defTabSz="912754"/>
            <a:endParaRPr>
              <a:solidFill>
                <a:prstClr val="black"/>
              </a:solidFill>
            </a:endParaRPr>
          </a:p>
        </p:txBody>
      </p:sp>
      <p:sp>
        <p:nvSpPr>
          <p:cNvPr id="24" name="object 10"/>
          <p:cNvSpPr/>
          <p:nvPr/>
        </p:nvSpPr>
        <p:spPr>
          <a:xfrm>
            <a:off x="5903316" y="5159092"/>
            <a:ext cx="396775" cy="396775"/>
          </a:xfrm>
          <a:custGeom>
            <a:avLst/>
            <a:gdLst/>
            <a:ahLst/>
            <a:cxnLst/>
            <a:rect l="l" t="t" r="r" b="b"/>
            <a:pathLst>
              <a:path w="397510" h="397510">
                <a:moveTo>
                  <a:pt x="28829" y="0"/>
                </a:moveTo>
                <a:lnTo>
                  <a:pt x="198755" y="173354"/>
                </a:lnTo>
                <a:lnTo>
                  <a:pt x="371983" y="3428"/>
                </a:lnTo>
                <a:lnTo>
                  <a:pt x="397002" y="28955"/>
                </a:lnTo>
                <a:lnTo>
                  <a:pt x="223647" y="198754"/>
                </a:lnTo>
                <a:lnTo>
                  <a:pt x="393573" y="372033"/>
                </a:lnTo>
                <a:lnTo>
                  <a:pt x="368046" y="396989"/>
                </a:lnTo>
                <a:lnTo>
                  <a:pt x="198247" y="223773"/>
                </a:lnTo>
                <a:lnTo>
                  <a:pt x="24892" y="393560"/>
                </a:lnTo>
                <a:lnTo>
                  <a:pt x="0" y="368109"/>
                </a:lnTo>
                <a:lnTo>
                  <a:pt x="173228" y="198246"/>
                </a:lnTo>
                <a:lnTo>
                  <a:pt x="3429" y="25018"/>
                </a:lnTo>
                <a:lnTo>
                  <a:pt x="28829"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25" name="object 11"/>
          <p:cNvSpPr/>
          <p:nvPr/>
        </p:nvSpPr>
        <p:spPr>
          <a:xfrm>
            <a:off x="6104112" y="3814366"/>
            <a:ext cx="396775" cy="396775"/>
          </a:xfrm>
          <a:custGeom>
            <a:avLst/>
            <a:gdLst/>
            <a:ahLst/>
            <a:cxnLst/>
            <a:rect l="l" t="t" r="r" b="b"/>
            <a:pathLst>
              <a:path w="397510" h="397510">
                <a:moveTo>
                  <a:pt x="248064" y="223647"/>
                </a:moveTo>
                <a:lnTo>
                  <a:pt x="198247" y="223647"/>
                </a:lnTo>
                <a:lnTo>
                  <a:pt x="368045" y="397002"/>
                </a:lnTo>
                <a:lnTo>
                  <a:pt x="393573" y="371983"/>
                </a:lnTo>
                <a:lnTo>
                  <a:pt x="248064" y="223647"/>
                </a:lnTo>
                <a:close/>
              </a:path>
              <a:path w="397510" h="397510">
                <a:moveTo>
                  <a:pt x="28828" y="0"/>
                </a:moveTo>
                <a:lnTo>
                  <a:pt x="3428" y="24892"/>
                </a:lnTo>
                <a:lnTo>
                  <a:pt x="173227" y="198247"/>
                </a:lnTo>
                <a:lnTo>
                  <a:pt x="0" y="368046"/>
                </a:lnTo>
                <a:lnTo>
                  <a:pt x="25018" y="393573"/>
                </a:lnTo>
                <a:lnTo>
                  <a:pt x="198247" y="223647"/>
                </a:lnTo>
                <a:lnTo>
                  <a:pt x="248064" y="223647"/>
                </a:lnTo>
                <a:lnTo>
                  <a:pt x="223647" y="198755"/>
                </a:lnTo>
                <a:lnTo>
                  <a:pt x="249689" y="173228"/>
                </a:lnTo>
                <a:lnTo>
                  <a:pt x="198754" y="173228"/>
                </a:lnTo>
                <a:lnTo>
                  <a:pt x="28828" y="0"/>
                </a:lnTo>
                <a:close/>
              </a:path>
              <a:path w="397510" h="397510">
                <a:moveTo>
                  <a:pt x="371982" y="3429"/>
                </a:moveTo>
                <a:lnTo>
                  <a:pt x="198754" y="173228"/>
                </a:lnTo>
                <a:lnTo>
                  <a:pt x="249689" y="173228"/>
                </a:lnTo>
                <a:lnTo>
                  <a:pt x="397001" y="28829"/>
                </a:lnTo>
                <a:lnTo>
                  <a:pt x="371982" y="3429"/>
                </a:lnTo>
                <a:close/>
              </a:path>
            </a:pathLst>
          </a:custGeom>
          <a:solidFill>
            <a:srgbClr val="000000"/>
          </a:solidFill>
        </p:spPr>
        <p:txBody>
          <a:bodyPr wrap="square" lIns="0" tIns="0" rIns="0" bIns="0" rtlCol="0"/>
          <a:lstStyle/>
          <a:p>
            <a:pPr defTabSz="912754"/>
            <a:endParaRPr>
              <a:solidFill>
                <a:prstClr val="black"/>
              </a:solidFill>
            </a:endParaRPr>
          </a:p>
        </p:txBody>
      </p:sp>
      <p:sp>
        <p:nvSpPr>
          <p:cNvPr id="26" name="object 12"/>
          <p:cNvSpPr/>
          <p:nvPr/>
        </p:nvSpPr>
        <p:spPr>
          <a:xfrm>
            <a:off x="6104112" y="3814366"/>
            <a:ext cx="396775" cy="396775"/>
          </a:xfrm>
          <a:custGeom>
            <a:avLst/>
            <a:gdLst/>
            <a:ahLst/>
            <a:cxnLst/>
            <a:rect l="l" t="t" r="r" b="b"/>
            <a:pathLst>
              <a:path w="397510" h="397510">
                <a:moveTo>
                  <a:pt x="28828" y="0"/>
                </a:moveTo>
                <a:lnTo>
                  <a:pt x="198754" y="173228"/>
                </a:lnTo>
                <a:lnTo>
                  <a:pt x="371982" y="3429"/>
                </a:lnTo>
                <a:lnTo>
                  <a:pt x="397001" y="28829"/>
                </a:lnTo>
                <a:lnTo>
                  <a:pt x="223647" y="198755"/>
                </a:lnTo>
                <a:lnTo>
                  <a:pt x="393573" y="371983"/>
                </a:lnTo>
                <a:lnTo>
                  <a:pt x="368045" y="397002"/>
                </a:lnTo>
                <a:lnTo>
                  <a:pt x="198247" y="223647"/>
                </a:lnTo>
                <a:lnTo>
                  <a:pt x="25018" y="393573"/>
                </a:lnTo>
                <a:lnTo>
                  <a:pt x="0" y="368046"/>
                </a:lnTo>
                <a:lnTo>
                  <a:pt x="173227" y="198247"/>
                </a:lnTo>
                <a:lnTo>
                  <a:pt x="3428" y="24892"/>
                </a:lnTo>
                <a:lnTo>
                  <a:pt x="28828"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27" name="object 13"/>
          <p:cNvSpPr/>
          <p:nvPr/>
        </p:nvSpPr>
        <p:spPr>
          <a:xfrm>
            <a:off x="5643067" y="2825978"/>
            <a:ext cx="396141" cy="396775"/>
          </a:xfrm>
          <a:custGeom>
            <a:avLst/>
            <a:gdLst/>
            <a:ahLst/>
            <a:cxnLst/>
            <a:rect l="l" t="t" r="r" b="b"/>
            <a:pathLst>
              <a:path w="396875" h="397510">
                <a:moveTo>
                  <a:pt x="248046" y="223647"/>
                </a:moveTo>
                <a:lnTo>
                  <a:pt x="198247" y="223647"/>
                </a:lnTo>
                <a:lnTo>
                  <a:pt x="368046" y="397001"/>
                </a:lnTo>
                <a:lnTo>
                  <a:pt x="393446" y="371983"/>
                </a:lnTo>
                <a:lnTo>
                  <a:pt x="248046" y="223647"/>
                </a:lnTo>
                <a:close/>
              </a:path>
              <a:path w="396875" h="397510">
                <a:moveTo>
                  <a:pt x="28828" y="0"/>
                </a:moveTo>
                <a:lnTo>
                  <a:pt x="3428" y="24891"/>
                </a:lnTo>
                <a:lnTo>
                  <a:pt x="173227" y="198247"/>
                </a:lnTo>
                <a:lnTo>
                  <a:pt x="0" y="368046"/>
                </a:lnTo>
                <a:lnTo>
                  <a:pt x="24891" y="393573"/>
                </a:lnTo>
                <a:lnTo>
                  <a:pt x="198247" y="223647"/>
                </a:lnTo>
                <a:lnTo>
                  <a:pt x="248046" y="223647"/>
                </a:lnTo>
                <a:lnTo>
                  <a:pt x="223647" y="198754"/>
                </a:lnTo>
                <a:lnTo>
                  <a:pt x="249670" y="173227"/>
                </a:lnTo>
                <a:lnTo>
                  <a:pt x="198754" y="173227"/>
                </a:lnTo>
                <a:lnTo>
                  <a:pt x="28828" y="0"/>
                </a:lnTo>
                <a:close/>
              </a:path>
              <a:path w="396875" h="397510">
                <a:moveTo>
                  <a:pt x="371983" y="3428"/>
                </a:moveTo>
                <a:lnTo>
                  <a:pt x="198754" y="173227"/>
                </a:lnTo>
                <a:lnTo>
                  <a:pt x="249670" y="173227"/>
                </a:lnTo>
                <a:lnTo>
                  <a:pt x="396875" y="28828"/>
                </a:lnTo>
                <a:lnTo>
                  <a:pt x="371983" y="3428"/>
                </a:lnTo>
                <a:close/>
              </a:path>
            </a:pathLst>
          </a:custGeom>
          <a:solidFill>
            <a:srgbClr val="000000"/>
          </a:solidFill>
        </p:spPr>
        <p:txBody>
          <a:bodyPr wrap="square" lIns="0" tIns="0" rIns="0" bIns="0" rtlCol="0"/>
          <a:lstStyle/>
          <a:p>
            <a:pPr defTabSz="912754"/>
            <a:endParaRPr>
              <a:solidFill>
                <a:prstClr val="black"/>
              </a:solidFill>
            </a:endParaRPr>
          </a:p>
        </p:txBody>
      </p:sp>
      <p:sp>
        <p:nvSpPr>
          <p:cNvPr id="28" name="object 14"/>
          <p:cNvSpPr/>
          <p:nvPr/>
        </p:nvSpPr>
        <p:spPr>
          <a:xfrm>
            <a:off x="5643067" y="2825978"/>
            <a:ext cx="396141" cy="396775"/>
          </a:xfrm>
          <a:custGeom>
            <a:avLst/>
            <a:gdLst/>
            <a:ahLst/>
            <a:cxnLst/>
            <a:rect l="l" t="t" r="r" b="b"/>
            <a:pathLst>
              <a:path w="396875" h="397510">
                <a:moveTo>
                  <a:pt x="28828" y="0"/>
                </a:moveTo>
                <a:lnTo>
                  <a:pt x="198754" y="173227"/>
                </a:lnTo>
                <a:lnTo>
                  <a:pt x="371983" y="3428"/>
                </a:lnTo>
                <a:lnTo>
                  <a:pt x="396875" y="28828"/>
                </a:lnTo>
                <a:lnTo>
                  <a:pt x="223647" y="198754"/>
                </a:lnTo>
                <a:lnTo>
                  <a:pt x="393446" y="371983"/>
                </a:lnTo>
                <a:lnTo>
                  <a:pt x="368046" y="397001"/>
                </a:lnTo>
                <a:lnTo>
                  <a:pt x="198247" y="223647"/>
                </a:lnTo>
                <a:lnTo>
                  <a:pt x="24891" y="393573"/>
                </a:lnTo>
                <a:lnTo>
                  <a:pt x="0" y="368046"/>
                </a:lnTo>
                <a:lnTo>
                  <a:pt x="173227" y="198247"/>
                </a:lnTo>
                <a:lnTo>
                  <a:pt x="3428" y="24891"/>
                </a:lnTo>
                <a:lnTo>
                  <a:pt x="28828"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29" name="object 15"/>
          <p:cNvSpPr txBox="1"/>
          <p:nvPr/>
        </p:nvSpPr>
        <p:spPr>
          <a:xfrm>
            <a:off x="5610108" y="4500420"/>
            <a:ext cx="396358" cy="276999"/>
          </a:xfrm>
          <a:prstGeom prst="rect">
            <a:avLst/>
          </a:prstGeom>
        </p:spPr>
        <p:txBody>
          <a:bodyPr vert="horz" wrap="square" lIns="0" tIns="0" rIns="0" bIns="0" rtlCol="0">
            <a:spAutoFit/>
          </a:bodyPr>
          <a:lstStyle/>
          <a:p>
            <a:pPr marL="12677" defTabSz="912754"/>
            <a:r>
              <a:rPr spc="-5" dirty="0">
                <a:solidFill>
                  <a:prstClr val="black"/>
                </a:solidFill>
                <a:cs typeface="Segoe UI Light"/>
              </a:rPr>
              <a:t>x</a:t>
            </a:r>
            <a:r>
              <a:rPr spc="329" baseline="-21367" dirty="0">
                <a:solidFill>
                  <a:prstClr val="black"/>
                </a:solidFill>
                <a:cs typeface="Segoe UI Light"/>
              </a:rPr>
              <a:t>1</a:t>
            </a:r>
            <a:endParaRPr baseline="-21367">
              <a:solidFill>
                <a:prstClr val="black"/>
              </a:solidFill>
              <a:cs typeface="Segoe UI Light"/>
            </a:endParaRPr>
          </a:p>
        </p:txBody>
      </p:sp>
      <p:sp>
        <p:nvSpPr>
          <p:cNvPr id="30" name="object 16"/>
          <p:cNvSpPr txBox="1"/>
          <p:nvPr/>
        </p:nvSpPr>
        <p:spPr>
          <a:xfrm>
            <a:off x="3700771" y="1754051"/>
            <a:ext cx="219304" cy="276999"/>
          </a:xfrm>
          <a:prstGeom prst="rect">
            <a:avLst/>
          </a:prstGeom>
        </p:spPr>
        <p:txBody>
          <a:bodyPr vert="horz" wrap="square" lIns="0" tIns="0" rIns="0" bIns="0" rtlCol="0">
            <a:spAutoFit/>
          </a:bodyPr>
          <a:lstStyle/>
          <a:p>
            <a:pPr marL="12677" defTabSz="912754"/>
            <a:r>
              <a:rPr spc="-5" dirty="0">
                <a:solidFill>
                  <a:prstClr val="black"/>
                </a:solidFill>
                <a:cs typeface="Segoe UI Light"/>
              </a:rPr>
              <a:t>x</a:t>
            </a:r>
            <a:r>
              <a:rPr spc="22" baseline="-21367" dirty="0">
                <a:solidFill>
                  <a:prstClr val="black"/>
                </a:solidFill>
                <a:cs typeface="Segoe UI Light"/>
              </a:rPr>
              <a:t>2</a:t>
            </a:r>
            <a:endParaRPr baseline="-21367">
              <a:solidFill>
                <a:prstClr val="black"/>
              </a:solidFill>
              <a:cs typeface="Segoe UI Light"/>
            </a:endParaRPr>
          </a:p>
        </p:txBody>
      </p:sp>
      <p:sp>
        <p:nvSpPr>
          <p:cNvPr id="31" name="object 17"/>
          <p:cNvSpPr/>
          <p:nvPr/>
        </p:nvSpPr>
        <p:spPr>
          <a:xfrm>
            <a:off x="4051676" y="1874098"/>
            <a:ext cx="171133" cy="4642143"/>
          </a:xfrm>
          <a:custGeom>
            <a:avLst/>
            <a:gdLst/>
            <a:ahLst/>
            <a:cxnLst/>
            <a:rect l="l" t="t" r="r" b="b"/>
            <a:pathLst>
              <a:path w="171450" h="4650740">
                <a:moveTo>
                  <a:pt x="85578" y="75800"/>
                </a:moveTo>
                <a:lnTo>
                  <a:pt x="66528" y="108457"/>
                </a:lnTo>
                <a:lnTo>
                  <a:pt x="66528" y="4650346"/>
                </a:lnTo>
                <a:lnTo>
                  <a:pt x="104628" y="4650346"/>
                </a:lnTo>
                <a:lnTo>
                  <a:pt x="104628" y="108457"/>
                </a:lnTo>
                <a:lnTo>
                  <a:pt x="85578" y="75800"/>
                </a:lnTo>
                <a:close/>
              </a:path>
              <a:path w="171450" h="4650740">
                <a:moveTo>
                  <a:pt x="85578" y="0"/>
                </a:moveTo>
                <a:lnTo>
                  <a:pt x="2393" y="142493"/>
                </a:lnTo>
                <a:lnTo>
                  <a:pt x="0" y="149689"/>
                </a:lnTo>
                <a:lnTo>
                  <a:pt x="488" y="157003"/>
                </a:lnTo>
                <a:lnTo>
                  <a:pt x="3643" y="163603"/>
                </a:lnTo>
                <a:lnTo>
                  <a:pt x="9251" y="168655"/>
                </a:lnTo>
                <a:lnTo>
                  <a:pt x="16446" y="171049"/>
                </a:lnTo>
                <a:lnTo>
                  <a:pt x="23760" y="170561"/>
                </a:lnTo>
                <a:lnTo>
                  <a:pt x="30360" y="167405"/>
                </a:lnTo>
                <a:lnTo>
                  <a:pt x="35413" y="161797"/>
                </a:lnTo>
                <a:lnTo>
                  <a:pt x="66528" y="108457"/>
                </a:lnTo>
                <a:lnTo>
                  <a:pt x="66528" y="37845"/>
                </a:lnTo>
                <a:lnTo>
                  <a:pt x="107671" y="37845"/>
                </a:lnTo>
                <a:lnTo>
                  <a:pt x="85578" y="0"/>
                </a:lnTo>
                <a:close/>
              </a:path>
              <a:path w="171450" h="4650740">
                <a:moveTo>
                  <a:pt x="107671" y="37845"/>
                </a:moveTo>
                <a:lnTo>
                  <a:pt x="104628" y="37845"/>
                </a:lnTo>
                <a:lnTo>
                  <a:pt x="104628" y="108457"/>
                </a:lnTo>
                <a:lnTo>
                  <a:pt x="135743" y="161797"/>
                </a:lnTo>
                <a:lnTo>
                  <a:pt x="140795" y="167405"/>
                </a:lnTo>
                <a:lnTo>
                  <a:pt x="147395" y="170561"/>
                </a:lnTo>
                <a:lnTo>
                  <a:pt x="154709" y="171049"/>
                </a:lnTo>
                <a:lnTo>
                  <a:pt x="161905" y="168655"/>
                </a:lnTo>
                <a:lnTo>
                  <a:pt x="167512" y="163603"/>
                </a:lnTo>
                <a:lnTo>
                  <a:pt x="170668" y="157003"/>
                </a:lnTo>
                <a:lnTo>
                  <a:pt x="171156" y="149689"/>
                </a:lnTo>
                <a:lnTo>
                  <a:pt x="168763" y="142493"/>
                </a:lnTo>
                <a:lnTo>
                  <a:pt x="107671" y="37845"/>
                </a:lnTo>
                <a:close/>
              </a:path>
              <a:path w="171450" h="4650740">
                <a:moveTo>
                  <a:pt x="104628" y="37845"/>
                </a:moveTo>
                <a:lnTo>
                  <a:pt x="66528" y="37845"/>
                </a:lnTo>
                <a:lnTo>
                  <a:pt x="66528" y="108457"/>
                </a:lnTo>
                <a:lnTo>
                  <a:pt x="85578" y="75800"/>
                </a:lnTo>
                <a:lnTo>
                  <a:pt x="69068" y="47497"/>
                </a:lnTo>
                <a:lnTo>
                  <a:pt x="104628" y="47497"/>
                </a:lnTo>
                <a:lnTo>
                  <a:pt x="104628" y="37845"/>
                </a:lnTo>
                <a:close/>
              </a:path>
              <a:path w="171450" h="4650740">
                <a:moveTo>
                  <a:pt x="104628" y="47497"/>
                </a:moveTo>
                <a:lnTo>
                  <a:pt x="102088" y="47497"/>
                </a:lnTo>
                <a:lnTo>
                  <a:pt x="85578" y="75800"/>
                </a:lnTo>
                <a:lnTo>
                  <a:pt x="104628" y="108457"/>
                </a:lnTo>
                <a:lnTo>
                  <a:pt x="104628" y="47497"/>
                </a:lnTo>
                <a:close/>
              </a:path>
              <a:path w="171450" h="4650740">
                <a:moveTo>
                  <a:pt x="102088" y="47497"/>
                </a:moveTo>
                <a:lnTo>
                  <a:pt x="69068" y="47497"/>
                </a:lnTo>
                <a:lnTo>
                  <a:pt x="85578" y="75800"/>
                </a:lnTo>
                <a:lnTo>
                  <a:pt x="102088" y="47497"/>
                </a:lnTo>
                <a:close/>
              </a:path>
            </a:pathLst>
          </a:custGeom>
          <a:solidFill>
            <a:srgbClr val="000000"/>
          </a:solidFill>
        </p:spPr>
        <p:txBody>
          <a:bodyPr wrap="square" lIns="0" tIns="0" rIns="0" bIns="0" rtlCol="0"/>
          <a:lstStyle/>
          <a:p>
            <a:pPr defTabSz="912754"/>
            <a:endParaRPr>
              <a:solidFill>
                <a:prstClr val="black"/>
              </a:solidFill>
            </a:endParaRPr>
          </a:p>
        </p:txBody>
      </p:sp>
      <p:sp>
        <p:nvSpPr>
          <p:cNvPr id="32" name="object 18"/>
          <p:cNvSpPr/>
          <p:nvPr/>
        </p:nvSpPr>
        <p:spPr>
          <a:xfrm>
            <a:off x="1631707" y="4329180"/>
            <a:ext cx="5191037" cy="171133"/>
          </a:xfrm>
          <a:custGeom>
            <a:avLst/>
            <a:gdLst/>
            <a:ahLst/>
            <a:cxnLst/>
            <a:rect l="l" t="t" r="r" b="b"/>
            <a:pathLst>
              <a:path w="5200650" h="171450">
                <a:moveTo>
                  <a:pt x="5124722" y="85578"/>
                </a:moveTo>
                <a:lnTo>
                  <a:pt x="5038725" y="135743"/>
                </a:lnTo>
                <a:lnTo>
                  <a:pt x="5033045" y="140795"/>
                </a:lnTo>
                <a:lnTo>
                  <a:pt x="5029866" y="147395"/>
                </a:lnTo>
                <a:lnTo>
                  <a:pt x="5029402" y="154709"/>
                </a:lnTo>
                <a:lnTo>
                  <a:pt x="5031867" y="161905"/>
                </a:lnTo>
                <a:lnTo>
                  <a:pt x="5036899" y="167512"/>
                </a:lnTo>
                <a:lnTo>
                  <a:pt x="5043455" y="170668"/>
                </a:lnTo>
                <a:lnTo>
                  <a:pt x="5050726" y="171156"/>
                </a:lnTo>
                <a:lnTo>
                  <a:pt x="5057902" y="168763"/>
                </a:lnTo>
                <a:lnTo>
                  <a:pt x="5167763" y="104628"/>
                </a:lnTo>
                <a:lnTo>
                  <a:pt x="5162677" y="104628"/>
                </a:lnTo>
                <a:lnTo>
                  <a:pt x="5162677" y="102088"/>
                </a:lnTo>
                <a:lnTo>
                  <a:pt x="5153025" y="102088"/>
                </a:lnTo>
                <a:lnTo>
                  <a:pt x="5124722" y="85578"/>
                </a:lnTo>
                <a:close/>
              </a:path>
              <a:path w="5200650" h="171450">
                <a:moveTo>
                  <a:pt x="5092065" y="66528"/>
                </a:moveTo>
                <a:lnTo>
                  <a:pt x="0" y="66528"/>
                </a:lnTo>
                <a:lnTo>
                  <a:pt x="0" y="104628"/>
                </a:lnTo>
                <a:lnTo>
                  <a:pt x="5092065" y="104628"/>
                </a:lnTo>
                <a:lnTo>
                  <a:pt x="5124722" y="85578"/>
                </a:lnTo>
                <a:lnTo>
                  <a:pt x="5092065" y="66528"/>
                </a:lnTo>
                <a:close/>
              </a:path>
              <a:path w="5200650" h="171450">
                <a:moveTo>
                  <a:pt x="5167763" y="66528"/>
                </a:moveTo>
                <a:lnTo>
                  <a:pt x="5162677" y="66528"/>
                </a:lnTo>
                <a:lnTo>
                  <a:pt x="5162677" y="104628"/>
                </a:lnTo>
                <a:lnTo>
                  <a:pt x="5167763" y="104628"/>
                </a:lnTo>
                <a:lnTo>
                  <a:pt x="5200396" y="85578"/>
                </a:lnTo>
                <a:lnTo>
                  <a:pt x="5167763" y="66528"/>
                </a:lnTo>
                <a:close/>
              </a:path>
              <a:path w="5200650" h="171450">
                <a:moveTo>
                  <a:pt x="5153025" y="69068"/>
                </a:moveTo>
                <a:lnTo>
                  <a:pt x="5124722" y="85578"/>
                </a:lnTo>
                <a:lnTo>
                  <a:pt x="5153025" y="102088"/>
                </a:lnTo>
                <a:lnTo>
                  <a:pt x="5153025" y="69068"/>
                </a:lnTo>
                <a:close/>
              </a:path>
              <a:path w="5200650" h="171450">
                <a:moveTo>
                  <a:pt x="5162677" y="69068"/>
                </a:moveTo>
                <a:lnTo>
                  <a:pt x="5153025" y="69068"/>
                </a:lnTo>
                <a:lnTo>
                  <a:pt x="5153025" y="102088"/>
                </a:lnTo>
                <a:lnTo>
                  <a:pt x="5162677" y="102088"/>
                </a:lnTo>
                <a:lnTo>
                  <a:pt x="5162677" y="69068"/>
                </a:lnTo>
                <a:close/>
              </a:path>
              <a:path w="5200650" h="171450">
                <a:moveTo>
                  <a:pt x="5050726" y="0"/>
                </a:moveTo>
                <a:lnTo>
                  <a:pt x="5043455" y="488"/>
                </a:lnTo>
                <a:lnTo>
                  <a:pt x="5036899" y="3643"/>
                </a:lnTo>
                <a:lnTo>
                  <a:pt x="5031867" y="9251"/>
                </a:lnTo>
                <a:lnTo>
                  <a:pt x="5029402" y="16446"/>
                </a:lnTo>
                <a:lnTo>
                  <a:pt x="5029866" y="23760"/>
                </a:lnTo>
                <a:lnTo>
                  <a:pt x="5033045" y="30360"/>
                </a:lnTo>
                <a:lnTo>
                  <a:pt x="5038725" y="35413"/>
                </a:lnTo>
                <a:lnTo>
                  <a:pt x="5124722" y="85578"/>
                </a:lnTo>
                <a:lnTo>
                  <a:pt x="5153025" y="69068"/>
                </a:lnTo>
                <a:lnTo>
                  <a:pt x="5162677" y="69068"/>
                </a:lnTo>
                <a:lnTo>
                  <a:pt x="5162677" y="66528"/>
                </a:lnTo>
                <a:lnTo>
                  <a:pt x="5167763" y="66528"/>
                </a:lnTo>
                <a:lnTo>
                  <a:pt x="5057902" y="2393"/>
                </a:lnTo>
                <a:lnTo>
                  <a:pt x="5050726" y="0"/>
                </a:lnTo>
                <a:close/>
              </a:path>
            </a:pathLst>
          </a:custGeom>
          <a:solidFill>
            <a:srgbClr val="000000"/>
          </a:solidFill>
        </p:spPr>
        <p:txBody>
          <a:bodyPr wrap="square" lIns="0" tIns="0" rIns="0" bIns="0" rtlCol="0"/>
          <a:lstStyle/>
          <a:p>
            <a:pPr defTabSz="912754"/>
            <a:endParaRPr>
              <a:solidFill>
                <a:prstClr val="black"/>
              </a:solidFill>
            </a:endParaRPr>
          </a:p>
        </p:txBody>
      </p:sp>
      <p:sp>
        <p:nvSpPr>
          <p:cNvPr id="33" name="object 19"/>
          <p:cNvSpPr/>
          <p:nvPr/>
        </p:nvSpPr>
        <p:spPr>
          <a:xfrm>
            <a:off x="3740067" y="3652487"/>
            <a:ext cx="397409" cy="395508"/>
          </a:xfrm>
          <a:custGeom>
            <a:avLst/>
            <a:gdLst/>
            <a:ahLst/>
            <a:cxnLst/>
            <a:rect l="l" t="t" r="r" b="b"/>
            <a:pathLst>
              <a:path w="398145" h="396239">
                <a:moveTo>
                  <a:pt x="0" y="198120"/>
                </a:moveTo>
                <a:lnTo>
                  <a:pt x="5251" y="152675"/>
                </a:lnTo>
                <a:lnTo>
                  <a:pt x="20211" y="110967"/>
                </a:lnTo>
                <a:lnTo>
                  <a:pt x="43687" y="74182"/>
                </a:lnTo>
                <a:lnTo>
                  <a:pt x="74484" y="43507"/>
                </a:lnTo>
                <a:lnTo>
                  <a:pt x="111411" y="20127"/>
                </a:lnTo>
                <a:lnTo>
                  <a:pt x="153275" y="5229"/>
                </a:lnTo>
                <a:lnTo>
                  <a:pt x="198882" y="0"/>
                </a:lnTo>
                <a:lnTo>
                  <a:pt x="244488" y="5229"/>
                </a:lnTo>
                <a:lnTo>
                  <a:pt x="286352" y="20127"/>
                </a:lnTo>
                <a:lnTo>
                  <a:pt x="323279" y="43507"/>
                </a:lnTo>
                <a:lnTo>
                  <a:pt x="354076" y="74182"/>
                </a:lnTo>
                <a:lnTo>
                  <a:pt x="377552" y="110967"/>
                </a:lnTo>
                <a:lnTo>
                  <a:pt x="392512" y="152675"/>
                </a:lnTo>
                <a:lnTo>
                  <a:pt x="397763" y="198120"/>
                </a:lnTo>
                <a:lnTo>
                  <a:pt x="392512" y="243564"/>
                </a:lnTo>
                <a:lnTo>
                  <a:pt x="377552" y="285272"/>
                </a:lnTo>
                <a:lnTo>
                  <a:pt x="354076" y="322057"/>
                </a:lnTo>
                <a:lnTo>
                  <a:pt x="323279" y="352732"/>
                </a:lnTo>
                <a:lnTo>
                  <a:pt x="286352" y="376112"/>
                </a:lnTo>
                <a:lnTo>
                  <a:pt x="244488" y="391010"/>
                </a:lnTo>
                <a:lnTo>
                  <a:pt x="198882" y="396240"/>
                </a:lnTo>
                <a:lnTo>
                  <a:pt x="153275" y="391010"/>
                </a:lnTo>
                <a:lnTo>
                  <a:pt x="111411" y="376112"/>
                </a:lnTo>
                <a:lnTo>
                  <a:pt x="74484" y="352732"/>
                </a:lnTo>
                <a:lnTo>
                  <a:pt x="43687" y="322057"/>
                </a:lnTo>
                <a:lnTo>
                  <a:pt x="20211" y="285272"/>
                </a:lnTo>
                <a:lnTo>
                  <a:pt x="5251" y="243564"/>
                </a:lnTo>
                <a:lnTo>
                  <a:pt x="0" y="198120"/>
                </a:lnTo>
                <a:close/>
              </a:path>
            </a:pathLst>
          </a:custGeom>
          <a:ln w="44196">
            <a:solidFill>
              <a:srgbClr val="FF9B66"/>
            </a:solidFill>
          </a:ln>
        </p:spPr>
        <p:txBody>
          <a:bodyPr wrap="square" lIns="0" tIns="0" rIns="0" bIns="0" rtlCol="0"/>
          <a:lstStyle/>
          <a:p>
            <a:pPr defTabSz="912754"/>
            <a:endParaRPr>
              <a:solidFill>
                <a:prstClr val="black"/>
              </a:solidFill>
            </a:endParaRPr>
          </a:p>
        </p:txBody>
      </p:sp>
      <p:sp>
        <p:nvSpPr>
          <p:cNvPr id="34" name="object 20"/>
          <p:cNvSpPr/>
          <p:nvPr/>
        </p:nvSpPr>
        <p:spPr>
          <a:xfrm>
            <a:off x="4281609" y="3877622"/>
            <a:ext cx="397409" cy="395508"/>
          </a:xfrm>
          <a:custGeom>
            <a:avLst/>
            <a:gdLst/>
            <a:ahLst/>
            <a:cxnLst/>
            <a:rect l="l" t="t" r="r" b="b"/>
            <a:pathLst>
              <a:path w="398145" h="396239">
                <a:moveTo>
                  <a:pt x="0" y="198120"/>
                </a:moveTo>
                <a:lnTo>
                  <a:pt x="5251" y="152675"/>
                </a:lnTo>
                <a:lnTo>
                  <a:pt x="20211" y="110967"/>
                </a:lnTo>
                <a:lnTo>
                  <a:pt x="43687" y="74182"/>
                </a:lnTo>
                <a:lnTo>
                  <a:pt x="74484" y="43507"/>
                </a:lnTo>
                <a:lnTo>
                  <a:pt x="111411" y="20127"/>
                </a:lnTo>
                <a:lnTo>
                  <a:pt x="153275" y="5229"/>
                </a:lnTo>
                <a:lnTo>
                  <a:pt x="198882" y="0"/>
                </a:lnTo>
                <a:lnTo>
                  <a:pt x="244488" y="5229"/>
                </a:lnTo>
                <a:lnTo>
                  <a:pt x="286352" y="20127"/>
                </a:lnTo>
                <a:lnTo>
                  <a:pt x="323279" y="43507"/>
                </a:lnTo>
                <a:lnTo>
                  <a:pt x="354076" y="74182"/>
                </a:lnTo>
                <a:lnTo>
                  <a:pt x="377552" y="110967"/>
                </a:lnTo>
                <a:lnTo>
                  <a:pt x="392512" y="152675"/>
                </a:lnTo>
                <a:lnTo>
                  <a:pt x="397764" y="198120"/>
                </a:lnTo>
                <a:lnTo>
                  <a:pt x="392512" y="243564"/>
                </a:lnTo>
                <a:lnTo>
                  <a:pt x="377552" y="285272"/>
                </a:lnTo>
                <a:lnTo>
                  <a:pt x="354076" y="322057"/>
                </a:lnTo>
                <a:lnTo>
                  <a:pt x="323279" y="352732"/>
                </a:lnTo>
                <a:lnTo>
                  <a:pt x="286352" y="376112"/>
                </a:lnTo>
                <a:lnTo>
                  <a:pt x="244488" y="391010"/>
                </a:lnTo>
                <a:lnTo>
                  <a:pt x="198882" y="396240"/>
                </a:lnTo>
                <a:lnTo>
                  <a:pt x="153275" y="391010"/>
                </a:lnTo>
                <a:lnTo>
                  <a:pt x="111411" y="376112"/>
                </a:lnTo>
                <a:lnTo>
                  <a:pt x="74484" y="352732"/>
                </a:lnTo>
                <a:lnTo>
                  <a:pt x="43687" y="322057"/>
                </a:lnTo>
                <a:lnTo>
                  <a:pt x="20211" y="285272"/>
                </a:lnTo>
                <a:lnTo>
                  <a:pt x="5251" y="243564"/>
                </a:lnTo>
                <a:lnTo>
                  <a:pt x="0" y="198120"/>
                </a:lnTo>
                <a:close/>
              </a:path>
            </a:pathLst>
          </a:custGeom>
          <a:ln w="44196">
            <a:solidFill>
              <a:srgbClr val="FF9B66"/>
            </a:solidFill>
          </a:ln>
        </p:spPr>
        <p:txBody>
          <a:bodyPr wrap="square" lIns="0" tIns="0" rIns="0" bIns="0" rtlCol="0"/>
          <a:lstStyle/>
          <a:p>
            <a:pPr defTabSz="912754"/>
            <a:endParaRPr>
              <a:solidFill>
                <a:prstClr val="black"/>
              </a:solidFill>
            </a:endParaRPr>
          </a:p>
        </p:txBody>
      </p:sp>
      <p:sp>
        <p:nvSpPr>
          <p:cNvPr id="35" name="object 21"/>
          <p:cNvSpPr/>
          <p:nvPr/>
        </p:nvSpPr>
        <p:spPr>
          <a:xfrm>
            <a:off x="4438291" y="4657990"/>
            <a:ext cx="395508" cy="397409"/>
          </a:xfrm>
          <a:custGeom>
            <a:avLst/>
            <a:gdLst/>
            <a:ahLst/>
            <a:cxnLst/>
            <a:rect l="l" t="t" r="r" b="b"/>
            <a:pathLst>
              <a:path w="396239" h="398145">
                <a:moveTo>
                  <a:pt x="0" y="198881"/>
                </a:moveTo>
                <a:lnTo>
                  <a:pt x="5229" y="153275"/>
                </a:lnTo>
                <a:lnTo>
                  <a:pt x="20127" y="111411"/>
                </a:lnTo>
                <a:lnTo>
                  <a:pt x="43507" y="74484"/>
                </a:lnTo>
                <a:lnTo>
                  <a:pt x="74182" y="43687"/>
                </a:lnTo>
                <a:lnTo>
                  <a:pt x="110967" y="20211"/>
                </a:lnTo>
                <a:lnTo>
                  <a:pt x="152675" y="5251"/>
                </a:lnTo>
                <a:lnTo>
                  <a:pt x="198120" y="0"/>
                </a:lnTo>
                <a:lnTo>
                  <a:pt x="243564" y="5251"/>
                </a:lnTo>
                <a:lnTo>
                  <a:pt x="285272" y="20211"/>
                </a:lnTo>
                <a:lnTo>
                  <a:pt x="322057" y="43687"/>
                </a:lnTo>
                <a:lnTo>
                  <a:pt x="352732" y="74484"/>
                </a:lnTo>
                <a:lnTo>
                  <a:pt x="376112" y="111411"/>
                </a:lnTo>
                <a:lnTo>
                  <a:pt x="391010" y="153275"/>
                </a:lnTo>
                <a:lnTo>
                  <a:pt x="396239" y="198881"/>
                </a:lnTo>
                <a:lnTo>
                  <a:pt x="391010" y="244488"/>
                </a:lnTo>
                <a:lnTo>
                  <a:pt x="376112" y="286352"/>
                </a:lnTo>
                <a:lnTo>
                  <a:pt x="352732" y="323279"/>
                </a:lnTo>
                <a:lnTo>
                  <a:pt x="322057" y="354076"/>
                </a:lnTo>
                <a:lnTo>
                  <a:pt x="285272" y="377552"/>
                </a:lnTo>
                <a:lnTo>
                  <a:pt x="243564" y="392512"/>
                </a:lnTo>
                <a:lnTo>
                  <a:pt x="198120" y="397763"/>
                </a:lnTo>
                <a:lnTo>
                  <a:pt x="152675" y="392512"/>
                </a:lnTo>
                <a:lnTo>
                  <a:pt x="110967" y="377552"/>
                </a:lnTo>
                <a:lnTo>
                  <a:pt x="74182" y="354076"/>
                </a:lnTo>
                <a:lnTo>
                  <a:pt x="43507" y="323279"/>
                </a:lnTo>
                <a:lnTo>
                  <a:pt x="20127" y="286352"/>
                </a:lnTo>
                <a:lnTo>
                  <a:pt x="5229" y="244488"/>
                </a:lnTo>
                <a:lnTo>
                  <a:pt x="0" y="198881"/>
                </a:lnTo>
                <a:close/>
              </a:path>
            </a:pathLst>
          </a:custGeom>
          <a:ln w="44196">
            <a:solidFill>
              <a:srgbClr val="FF9B66"/>
            </a:solidFill>
          </a:ln>
        </p:spPr>
        <p:txBody>
          <a:bodyPr wrap="square" lIns="0" tIns="0" rIns="0" bIns="0" rtlCol="0"/>
          <a:lstStyle/>
          <a:p>
            <a:pPr defTabSz="912754"/>
            <a:endParaRPr>
              <a:solidFill>
                <a:prstClr val="black"/>
              </a:solidFill>
            </a:endParaRPr>
          </a:p>
        </p:txBody>
      </p:sp>
      <p:sp>
        <p:nvSpPr>
          <p:cNvPr id="36" name="object 22"/>
          <p:cNvSpPr/>
          <p:nvPr/>
        </p:nvSpPr>
        <p:spPr>
          <a:xfrm>
            <a:off x="2574082" y="2248309"/>
            <a:ext cx="396141" cy="396775"/>
          </a:xfrm>
          <a:custGeom>
            <a:avLst/>
            <a:gdLst/>
            <a:ahLst/>
            <a:cxnLst/>
            <a:rect l="l" t="t" r="r" b="b"/>
            <a:pathLst>
              <a:path w="396875" h="397510">
                <a:moveTo>
                  <a:pt x="248046" y="223647"/>
                </a:moveTo>
                <a:lnTo>
                  <a:pt x="198119" y="223647"/>
                </a:lnTo>
                <a:lnTo>
                  <a:pt x="368045" y="397001"/>
                </a:lnTo>
                <a:lnTo>
                  <a:pt x="393445" y="371982"/>
                </a:lnTo>
                <a:lnTo>
                  <a:pt x="248046" y="223647"/>
                </a:lnTo>
                <a:close/>
              </a:path>
              <a:path w="396875" h="397510">
                <a:moveTo>
                  <a:pt x="28828" y="0"/>
                </a:moveTo>
                <a:lnTo>
                  <a:pt x="3428" y="25018"/>
                </a:lnTo>
                <a:lnTo>
                  <a:pt x="173227" y="198247"/>
                </a:lnTo>
                <a:lnTo>
                  <a:pt x="0" y="368046"/>
                </a:lnTo>
                <a:lnTo>
                  <a:pt x="24891" y="393573"/>
                </a:lnTo>
                <a:lnTo>
                  <a:pt x="198119" y="223647"/>
                </a:lnTo>
                <a:lnTo>
                  <a:pt x="248046" y="223647"/>
                </a:lnTo>
                <a:lnTo>
                  <a:pt x="223646" y="198754"/>
                </a:lnTo>
                <a:lnTo>
                  <a:pt x="249670" y="173227"/>
                </a:lnTo>
                <a:lnTo>
                  <a:pt x="198627" y="173227"/>
                </a:lnTo>
                <a:lnTo>
                  <a:pt x="28828" y="0"/>
                </a:lnTo>
                <a:close/>
              </a:path>
              <a:path w="396875" h="397510">
                <a:moveTo>
                  <a:pt x="371982" y="3428"/>
                </a:moveTo>
                <a:lnTo>
                  <a:pt x="198627" y="173227"/>
                </a:lnTo>
                <a:lnTo>
                  <a:pt x="249670" y="173227"/>
                </a:lnTo>
                <a:lnTo>
                  <a:pt x="396875" y="28828"/>
                </a:lnTo>
                <a:lnTo>
                  <a:pt x="371982" y="3428"/>
                </a:lnTo>
                <a:close/>
              </a:path>
            </a:pathLst>
          </a:custGeom>
          <a:solidFill>
            <a:srgbClr val="000000"/>
          </a:solidFill>
        </p:spPr>
        <p:txBody>
          <a:bodyPr wrap="square" lIns="0" tIns="0" rIns="0" bIns="0" rtlCol="0"/>
          <a:lstStyle/>
          <a:p>
            <a:pPr defTabSz="912754"/>
            <a:endParaRPr>
              <a:solidFill>
                <a:prstClr val="black"/>
              </a:solidFill>
            </a:endParaRPr>
          </a:p>
        </p:txBody>
      </p:sp>
      <p:sp>
        <p:nvSpPr>
          <p:cNvPr id="37" name="object 23"/>
          <p:cNvSpPr/>
          <p:nvPr/>
        </p:nvSpPr>
        <p:spPr>
          <a:xfrm>
            <a:off x="2574082" y="2248309"/>
            <a:ext cx="396141" cy="396775"/>
          </a:xfrm>
          <a:custGeom>
            <a:avLst/>
            <a:gdLst/>
            <a:ahLst/>
            <a:cxnLst/>
            <a:rect l="l" t="t" r="r" b="b"/>
            <a:pathLst>
              <a:path w="396875" h="397510">
                <a:moveTo>
                  <a:pt x="28828" y="0"/>
                </a:moveTo>
                <a:lnTo>
                  <a:pt x="198627" y="173227"/>
                </a:lnTo>
                <a:lnTo>
                  <a:pt x="371982" y="3428"/>
                </a:lnTo>
                <a:lnTo>
                  <a:pt x="396875" y="28828"/>
                </a:lnTo>
                <a:lnTo>
                  <a:pt x="223646" y="198754"/>
                </a:lnTo>
                <a:lnTo>
                  <a:pt x="393445" y="371982"/>
                </a:lnTo>
                <a:lnTo>
                  <a:pt x="368045" y="397001"/>
                </a:lnTo>
                <a:lnTo>
                  <a:pt x="198119" y="223647"/>
                </a:lnTo>
                <a:lnTo>
                  <a:pt x="24891" y="393573"/>
                </a:lnTo>
                <a:lnTo>
                  <a:pt x="0" y="368046"/>
                </a:lnTo>
                <a:lnTo>
                  <a:pt x="173227" y="198247"/>
                </a:lnTo>
                <a:lnTo>
                  <a:pt x="3428" y="25018"/>
                </a:lnTo>
                <a:lnTo>
                  <a:pt x="28828" y="0"/>
                </a:lnTo>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38" name="object 24"/>
          <p:cNvSpPr/>
          <p:nvPr/>
        </p:nvSpPr>
        <p:spPr>
          <a:xfrm>
            <a:off x="1953819" y="3186245"/>
            <a:ext cx="396141" cy="396775"/>
          </a:xfrm>
          <a:custGeom>
            <a:avLst/>
            <a:gdLst/>
            <a:ahLst/>
            <a:cxnLst/>
            <a:rect l="l" t="t" r="r" b="b"/>
            <a:pathLst>
              <a:path w="396875" h="397510">
                <a:moveTo>
                  <a:pt x="248152" y="223774"/>
                </a:moveTo>
                <a:lnTo>
                  <a:pt x="198247" y="223774"/>
                </a:lnTo>
                <a:lnTo>
                  <a:pt x="368045" y="397001"/>
                </a:lnTo>
                <a:lnTo>
                  <a:pt x="393445" y="372109"/>
                </a:lnTo>
                <a:lnTo>
                  <a:pt x="248152" y="223774"/>
                </a:lnTo>
                <a:close/>
              </a:path>
              <a:path w="396875" h="397510">
                <a:moveTo>
                  <a:pt x="28828" y="0"/>
                </a:moveTo>
                <a:lnTo>
                  <a:pt x="3428" y="25018"/>
                </a:lnTo>
                <a:lnTo>
                  <a:pt x="173228" y="198246"/>
                </a:lnTo>
                <a:lnTo>
                  <a:pt x="0" y="368172"/>
                </a:lnTo>
                <a:lnTo>
                  <a:pt x="24891" y="393572"/>
                </a:lnTo>
                <a:lnTo>
                  <a:pt x="198247" y="223774"/>
                </a:lnTo>
                <a:lnTo>
                  <a:pt x="248152" y="223774"/>
                </a:lnTo>
                <a:lnTo>
                  <a:pt x="223647" y="198754"/>
                </a:lnTo>
                <a:lnTo>
                  <a:pt x="249559" y="173354"/>
                </a:lnTo>
                <a:lnTo>
                  <a:pt x="198754" y="173354"/>
                </a:lnTo>
                <a:lnTo>
                  <a:pt x="28828" y="0"/>
                </a:lnTo>
                <a:close/>
              </a:path>
              <a:path w="396875" h="397510">
                <a:moveTo>
                  <a:pt x="371982" y="3428"/>
                </a:moveTo>
                <a:lnTo>
                  <a:pt x="198754" y="173354"/>
                </a:lnTo>
                <a:lnTo>
                  <a:pt x="249559" y="173354"/>
                </a:lnTo>
                <a:lnTo>
                  <a:pt x="396875" y="28955"/>
                </a:lnTo>
                <a:lnTo>
                  <a:pt x="371982" y="3428"/>
                </a:lnTo>
                <a:close/>
              </a:path>
            </a:pathLst>
          </a:custGeom>
          <a:solidFill>
            <a:srgbClr val="000000"/>
          </a:solidFill>
        </p:spPr>
        <p:txBody>
          <a:bodyPr wrap="square" lIns="0" tIns="0" rIns="0" bIns="0" rtlCol="0"/>
          <a:lstStyle/>
          <a:p>
            <a:pPr defTabSz="912754"/>
            <a:endParaRPr>
              <a:solidFill>
                <a:prstClr val="black"/>
              </a:solidFill>
            </a:endParaRPr>
          </a:p>
        </p:txBody>
      </p:sp>
      <p:sp>
        <p:nvSpPr>
          <p:cNvPr id="39" name="object 25"/>
          <p:cNvSpPr/>
          <p:nvPr/>
        </p:nvSpPr>
        <p:spPr>
          <a:xfrm>
            <a:off x="1953819" y="3186245"/>
            <a:ext cx="396141" cy="396775"/>
          </a:xfrm>
          <a:custGeom>
            <a:avLst/>
            <a:gdLst/>
            <a:ahLst/>
            <a:cxnLst/>
            <a:rect l="l" t="t" r="r" b="b"/>
            <a:pathLst>
              <a:path w="396875" h="397510">
                <a:moveTo>
                  <a:pt x="28828" y="0"/>
                </a:moveTo>
                <a:lnTo>
                  <a:pt x="198754" y="173354"/>
                </a:lnTo>
                <a:lnTo>
                  <a:pt x="371982" y="3428"/>
                </a:lnTo>
                <a:lnTo>
                  <a:pt x="396875" y="28955"/>
                </a:lnTo>
                <a:lnTo>
                  <a:pt x="223647" y="198754"/>
                </a:lnTo>
                <a:lnTo>
                  <a:pt x="393445" y="372109"/>
                </a:lnTo>
                <a:lnTo>
                  <a:pt x="368045" y="397001"/>
                </a:lnTo>
                <a:lnTo>
                  <a:pt x="198247" y="223774"/>
                </a:lnTo>
                <a:lnTo>
                  <a:pt x="24891" y="393572"/>
                </a:lnTo>
                <a:lnTo>
                  <a:pt x="0" y="368172"/>
                </a:lnTo>
                <a:lnTo>
                  <a:pt x="173228" y="198246"/>
                </a:lnTo>
                <a:lnTo>
                  <a:pt x="3428" y="25018"/>
                </a:lnTo>
                <a:lnTo>
                  <a:pt x="28828"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40" name="object 26"/>
          <p:cNvSpPr/>
          <p:nvPr/>
        </p:nvSpPr>
        <p:spPr>
          <a:xfrm>
            <a:off x="3814226" y="1375404"/>
            <a:ext cx="396775" cy="396141"/>
          </a:xfrm>
          <a:custGeom>
            <a:avLst/>
            <a:gdLst/>
            <a:ahLst/>
            <a:cxnLst/>
            <a:rect l="l" t="t" r="r" b="b"/>
            <a:pathLst>
              <a:path w="397510" h="396875">
                <a:moveTo>
                  <a:pt x="248171" y="223647"/>
                </a:moveTo>
                <a:lnTo>
                  <a:pt x="198246" y="223647"/>
                </a:lnTo>
                <a:lnTo>
                  <a:pt x="368045" y="396875"/>
                </a:lnTo>
                <a:lnTo>
                  <a:pt x="393572" y="371983"/>
                </a:lnTo>
                <a:lnTo>
                  <a:pt x="248171" y="223647"/>
                </a:lnTo>
                <a:close/>
              </a:path>
              <a:path w="397510" h="396875">
                <a:moveTo>
                  <a:pt x="28829" y="0"/>
                </a:moveTo>
                <a:lnTo>
                  <a:pt x="3429" y="24891"/>
                </a:lnTo>
                <a:lnTo>
                  <a:pt x="173228" y="198120"/>
                </a:lnTo>
                <a:lnTo>
                  <a:pt x="0" y="368046"/>
                </a:lnTo>
                <a:lnTo>
                  <a:pt x="24892" y="393446"/>
                </a:lnTo>
                <a:lnTo>
                  <a:pt x="198246" y="223647"/>
                </a:lnTo>
                <a:lnTo>
                  <a:pt x="248171" y="223647"/>
                </a:lnTo>
                <a:lnTo>
                  <a:pt x="223646" y="198627"/>
                </a:lnTo>
                <a:lnTo>
                  <a:pt x="249578" y="173227"/>
                </a:lnTo>
                <a:lnTo>
                  <a:pt x="198755" y="173227"/>
                </a:lnTo>
                <a:lnTo>
                  <a:pt x="28829" y="0"/>
                </a:lnTo>
                <a:close/>
              </a:path>
              <a:path w="397510" h="396875">
                <a:moveTo>
                  <a:pt x="371982" y="3428"/>
                </a:moveTo>
                <a:lnTo>
                  <a:pt x="198755" y="173227"/>
                </a:lnTo>
                <a:lnTo>
                  <a:pt x="249578" y="173227"/>
                </a:lnTo>
                <a:lnTo>
                  <a:pt x="397002" y="28828"/>
                </a:lnTo>
                <a:lnTo>
                  <a:pt x="371982" y="3428"/>
                </a:lnTo>
                <a:close/>
              </a:path>
            </a:pathLst>
          </a:custGeom>
          <a:solidFill>
            <a:srgbClr val="000000"/>
          </a:solidFill>
        </p:spPr>
        <p:txBody>
          <a:bodyPr wrap="square" lIns="0" tIns="0" rIns="0" bIns="0" rtlCol="0"/>
          <a:lstStyle/>
          <a:p>
            <a:pPr defTabSz="912754"/>
            <a:endParaRPr>
              <a:solidFill>
                <a:prstClr val="black"/>
              </a:solidFill>
            </a:endParaRPr>
          </a:p>
        </p:txBody>
      </p:sp>
      <p:sp>
        <p:nvSpPr>
          <p:cNvPr id="41" name="object 27"/>
          <p:cNvSpPr/>
          <p:nvPr/>
        </p:nvSpPr>
        <p:spPr>
          <a:xfrm>
            <a:off x="3814226" y="1375404"/>
            <a:ext cx="396775" cy="396141"/>
          </a:xfrm>
          <a:custGeom>
            <a:avLst/>
            <a:gdLst/>
            <a:ahLst/>
            <a:cxnLst/>
            <a:rect l="l" t="t" r="r" b="b"/>
            <a:pathLst>
              <a:path w="397510" h="396875">
                <a:moveTo>
                  <a:pt x="28829" y="0"/>
                </a:moveTo>
                <a:lnTo>
                  <a:pt x="198755" y="173227"/>
                </a:lnTo>
                <a:lnTo>
                  <a:pt x="371982" y="3428"/>
                </a:lnTo>
                <a:lnTo>
                  <a:pt x="397002" y="28828"/>
                </a:lnTo>
                <a:lnTo>
                  <a:pt x="223646" y="198627"/>
                </a:lnTo>
                <a:lnTo>
                  <a:pt x="393572" y="371983"/>
                </a:lnTo>
                <a:lnTo>
                  <a:pt x="368045" y="396875"/>
                </a:lnTo>
                <a:lnTo>
                  <a:pt x="198246" y="223647"/>
                </a:lnTo>
                <a:lnTo>
                  <a:pt x="24892" y="393446"/>
                </a:lnTo>
                <a:lnTo>
                  <a:pt x="0" y="368046"/>
                </a:lnTo>
                <a:lnTo>
                  <a:pt x="173228" y="198120"/>
                </a:lnTo>
                <a:lnTo>
                  <a:pt x="3429" y="24891"/>
                </a:lnTo>
                <a:lnTo>
                  <a:pt x="28829"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42" name="object 28"/>
          <p:cNvSpPr/>
          <p:nvPr/>
        </p:nvSpPr>
        <p:spPr>
          <a:xfrm>
            <a:off x="2880598" y="4282257"/>
            <a:ext cx="0" cy="309941"/>
          </a:xfrm>
          <a:custGeom>
            <a:avLst/>
            <a:gdLst/>
            <a:ahLst/>
            <a:cxnLst/>
            <a:rect l="l" t="t" r="r" b="b"/>
            <a:pathLst>
              <a:path h="310514">
                <a:moveTo>
                  <a:pt x="0" y="0"/>
                </a:moveTo>
                <a:lnTo>
                  <a:pt x="0" y="310514"/>
                </a:lnTo>
              </a:path>
            </a:pathLst>
          </a:custGeom>
          <a:ln w="38100">
            <a:solidFill>
              <a:srgbClr val="000000"/>
            </a:solidFill>
          </a:ln>
        </p:spPr>
        <p:txBody>
          <a:bodyPr wrap="square" lIns="0" tIns="0" rIns="0" bIns="0" rtlCol="0"/>
          <a:lstStyle/>
          <a:p>
            <a:pPr defTabSz="912754"/>
            <a:endParaRPr>
              <a:solidFill>
                <a:prstClr val="black"/>
              </a:solidFill>
            </a:endParaRPr>
          </a:p>
        </p:txBody>
      </p:sp>
      <p:sp>
        <p:nvSpPr>
          <p:cNvPr id="43" name="object 29"/>
          <p:cNvSpPr/>
          <p:nvPr/>
        </p:nvSpPr>
        <p:spPr>
          <a:xfrm>
            <a:off x="4176647" y="4282257"/>
            <a:ext cx="0" cy="309941"/>
          </a:xfrm>
          <a:custGeom>
            <a:avLst/>
            <a:gdLst/>
            <a:ahLst/>
            <a:cxnLst/>
            <a:rect l="l" t="t" r="r" b="b"/>
            <a:pathLst>
              <a:path h="310514">
                <a:moveTo>
                  <a:pt x="0" y="0"/>
                </a:moveTo>
                <a:lnTo>
                  <a:pt x="0" y="310514"/>
                </a:lnTo>
              </a:path>
            </a:pathLst>
          </a:custGeom>
          <a:ln w="38100">
            <a:solidFill>
              <a:srgbClr val="000000"/>
            </a:solidFill>
          </a:ln>
        </p:spPr>
        <p:txBody>
          <a:bodyPr wrap="square" lIns="0" tIns="0" rIns="0" bIns="0" rtlCol="0"/>
          <a:lstStyle/>
          <a:p>
            <a:pPr defTabSz="912754"/>
            <a:endParaRPr>
              <a:solidFill>
                <a:prstClr val="black"/>
              </a:solidFill>
            </a:endParaRPr>
          </a:p>
        </p:txBody>
      </p:sp>
      <p:sp>
        <p:nvSpPr>
          <p:cNvPr id="44" name="object 30"/>
          <p:cNvSpPr/>
          <p:nvPr/>
        </p:nvSpPr>
        <p:spPr>
          <a:xfrm>
            <a:off x="5284068" y="4282257"/>
            <a:ext cx="0" cy="309941"/>
          </a:xfrm>
          <a:custGeom>
            <a:avLst/>
            <a:gdLst/>
            <a:ahLst/>
            <a:cxnLst/>
            <a:rect l="l" t="t" r="r" b="b"/>
            <a:pathLst>
              <a:path h="310514">
                <a:moveTo>
                  <a:pt x="0" y="0"/>
                </a:moveTo>
                <a:lnTo>
                  <a:pt x="0" y="310514"/>
                </a:lnTo>
              </a:path>
            </a:pathLst>
          </a:custGeom>
          <a:ln w="38100">
            <a:solidFill>
              <a:srgbClr val="000000"/>
            </a:solidFill>
          </a:ln>
        </p:spPr>
        <p:txBody>
          <a:bodyPr wrap="square" lIns="0" tIns="0" rIns="0" bIns="0" rtlCol="0"/>
          <a:lstStyle/>
          <a:p>
            <a:pPr defTabSz="912754"/>
            <a:endParaRPr>
              <a:solidFill>
                <a:prstClr val="black"/>
              </a:solidFill>
            </a:endParaRPr>
          </a:p>
        </p:txBody>
      </p:sp>
      <p:sp>
        <p:nvSpPr>
          <p:cNvPr id="45" name="object 39"/>
          <p:cNvSpPr txBox="1"/>
          <p:nvPr/>
        </p:nvSpPr>
        <p:spPr>
          <a:xfrm>
            <a:off x="4825178" y="3931498"/>
            <a:ext cx="437973" cy="276999"/>
          </a:xfrm>
          <a:prstGeom prst="rect">
            <a:avLst/>
          </a:prstGeom>
        </p:spPr>
        <p:txBody>
          <a:bodyPr vert="horz" wrap="square" lIns="0" tIns="0" rIns="0" bIns="0" rtlCol="0">
            <a:spAutoFit/>
          </a:bodyPr>
          <a:lstStyle/>
          <a:p>
            <a:pPr marL="12677" defTabSz="912754"/>
            <a:r>
              <a:rPr dirty="0">
                <a:solidFill>
                  <a:prstClr val="black"/>
                </a:solidFill>
                <a:cs typeface="Segoe UI Light"/>
              </a:rPr>
              <a:t>y</a:t>
            </a:r>
            <a:r>
              <a:rPr spc="5" dirty="0">
                <a:solidFill>
                  <a:prstClr val="black"/>
                </a:solidFill>
                <a:cs typeface="Segoe UI Light"/>
              </a:rPr>
              <a:t>=</a:t>
            </a:r>
            <a:r>
              <a:rPr dirty="0">
                <a:solidFill>
                  <a:prstClr val="black"/>
                </a:solidFill>
                <a:cs typeface="Segoe UI Light"/>
              </a:rPr>
              <a:t>0</a:t>
            </a:r>
            <a:endParaRPr>
              <a:solidFill>
                <a:prstClr val="black"/>
              </a:solidFill>
              <a:cs typeface="Segoe UI Light"/>
            </a:endParaRPr>
          </a:p>
        </p:txBody>
      </p:sp>
      <p:sp>
        <p:nvSpPr>
          <p:cNvPr id="46" name="object 40"/>
          <p:cNvSpPr txBox="1"/>
          <p:nvPr/>
        </p:nvSpPr>
        <p:spPr>
          <a:xfrm>
            <a:off x="5211939" y="5003678"/>
            <a:ext cx="3656575" cy="276999"/>
          </a:xfrm>
          <a:prstGeom prst="rect">
            <a:avLst/>
          </a:prstGeom>
        </p:spPr>
        <p:txBody>
          <a:bodyPr vert="horz" wrap="square" lIns="0" tIns="0" rIns="0" bIns="0" rtlCol="0">
            <a:spAutoFit/>
          </a:bodyPr>
          <a:lstStyle/>
          <a:p>
            <a:pPr marL="12677" defTabSz="912754"/>
            <a:r>
              <a:rPr dirty="0">
                <a:solidFill>
                  <a:prstClr val="black"/>
                </a:solidFill>
                <a:cs typeface="Segoe UI Light"/>
              </a:rPr>
              <a:t>Decision</a:t>
            </a:r>
            <a:r>
              <a:rPr spc="-80" dirty="0">
                <a:solidFill>
                  <a:prstClr val="black"/>
                </a:solidFill>
                <a:cs typeface="Segoe UI Light"/>
              </a:rPr>
              <a:t> </a:t>
            </a:r>
            <a:r>
              <a:rPr spc="15" dirty="0">
                <a:solidFill>
                  <a:prstClr val="black"/>
                </a:solidFill>
                <a:cs typeface="Segoe UI Light"/>
              </a:rPr>
              <a:t>Boundary</a:t>
            </a:r>
            <a:endParaRPr dirty="0">
              <a:solidFill>
                <a:prstClr val="black"/>
              </a:solidFill>
              <a:cs typeface="Segoe UI Light"/>
            </a:endParaRPr>
          </a:p>
        </p:txBody>
      </p:sp>
      <p:sp>
        <p:nvSpPr>
          <p:cNvPr id="47" name="object 41"/>
          <p:cNvSpPr/>
          <p:nvPr/>
        </p:nvSpPr>
        <p:spPr>
          <a:xfrm>
            <a:off x="3602147" y="5972507"/>
            <a:ext cx="396141" cy="396775"/>
          </a:xfrm>
          <a:custGeom>
            <a:avLst/>
            <a:gdLst/>
            <a:ahLst/>
            <a:cxnLst/>
            <a:rect l="l" t="t" r="r" b="b"/>
            <a:pathLst>
              <a:path w="396875" h="397509">
                <a:moveTo>
                  <a:pt x="248090" y="223672"/>
                </a:moveTo>
                <a:lnTo>
                  <a:pt x="198119" y="223672"/>
                </a:lnTo>
                <a:lnTo>
                  <a:pt x="368046" y="396951"/>
                </a:lnTo>
                <a:lnTo>
                  <a:pt x="393446" y="371995"/>
                </a:lnTo>
                <a:lnTo>
                  <a:pt x="248090" y="223672"/>
                </a:lnTo>
                <a:close/>
              </a:path>
              <a:path w="396875" h="397509">
                <a:moveTo>
                  <a:pt x="28828" y="0"/>
                </a:moveTo>
                <a:lnTo>
                  <a:pt x="3428" y="24955"/>
                </a:lnTo>
                <a:lnTo>
                  <a:pt x="173227" y="198221"/>
                </a:lnTo>
                <a:lnTo>
                  <a:pt x="0" y="368071"/>
                </a:lnTo>
                <a:lnTo>
                  <a:pt x="24891" y="393522"/>
                </a:lnTo>
                <a:lnTo>
                  <a:pt x="198119" y="223672"/>
                </a:lnTo>
                <a:lnTo>
                  <a:pt x="248090" y="223672"/>
                </a:lnTo>
                <a:lnTo>
                  <a:pt x="223646" y="198729"/>
                </a:lnTo>
                <a:lnTo>
                  <a:pt x="249616" y="173266"/>
                </a:lnTo>
                <a:lnTo>
                  <a:pt x="198627" y="173266"/>
                </a:lnTo>
                <a:lnTo>
                  <a:pt x="28828" y="0"/>
                </a:lnTo>
                <a:close/>
              </a:path>
              <a:path w="396875" h="397509">
                <a:moveTo>
                  <a:pt x="371983" y="3429"/>
                </a:moveTo>
                <a:lnTo>
                  <a:pt x="198627" y="173266"/>
                </a:lnTo>
                <a:lnTo>
                  <a:pt x="249616" y="173266"/>
                </a:lnTo>
                <a:lnTo>
                  <a:pt x="396875" y="28879"/>
                </a:lnTo>
                <a:lnTo>
                  <a:pt x="371983" y="3429"/>
                </a:lnTo>
                <a:close/>
              </a:path>
            </a:pathLst>
          </a:custGeom>
          <a:solidFill>
            <a:srgbClr val="000000"/>
          </a:solidFill>
        </p:spPr>
        <p:txBody>
          <a:bodyPr wrap="square" lIns="0" tIns="0" rIns="0" bIns="0" rtlCol="0"/>
          <a:lstStyle/>
          <a:p>
            <a:pPr defTabSz="912754"/>
            <a:endParaRPr>
              <a:solidFill>
                <a:prstClr val="black"/>
              </a:solidFill>
            </a:endParaRPr>
          </a:p>
        </p:txBody>
      </p:sp>
      <p:sp>
        <p:nvSpPr>
          <p:cNvPr id="48" name="object 42"/>
          <p:cNvSpPr/>
          <p:nvPr/>
        </p:nvSpPr>
        <p:spPr>
          <a:xfrm>
            <a:off x="3602147" y="5972507"/>
            <a:ext cx="396141" cy="396775"/>
          </a:xfrm>
          <a:custGeom>
            <a:avLst/>
            <a:gdLst/>
            <a:ahLst/>
            <a:cxnLst/>
            <a:rect l="l" t="t" r="r" b="b"/>
            <a:pathLst>
              <a:path w="396875" h="397509">
                <a:moveTo>
                  <a:pt x="28828" y="0"/>
                </a:moveTo>
                <a:lnTo>
                  <a:pt x="198627" y="173266"/>
                </a:lnTo>
                <a:lnTo>
                  <a:pt x="371983" y="3429"/>
                </a:lnTo>
                <a:lnTo>
                  <a:pt x="396875" y="28879"/>
                </a:lnTo>
                <a:lnTo>
                  <a:pt x="223646" y="198729"/>
                </a:lnTo>
                <a:lnTo>
                  <a:pt x="393446" y="371995"/>
                </a:lnTo>
                <a:lnTo>
                  <a:pt x="368046" y="396951"/>
                </a:lnTo>
                <a:lnTo>
                  <a:pt x="198119" y="223672"/>
                </a:lnTo>
                <a:lnTo>
                  <a:pt x="24891" y="393522"/>
                </a:lnTo>
                <a:lnTo>
                  <a:pt x="0" y="368071"/>
                </a:lnTo>
                <a:lnTo>
                  <a:pt x="173227" y="198221"/>
                </a:lnTo>
                <a:lnTo>
                  <a:pt x="3428" y="24955"/>
                </a:lnTo>
                <a:lnTo>
                  <a:pt x="28828"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49" name="object 43"/>
          <p:cNvSpPr/>
          <p:nvPr/>
        </p:nvSpPr>
        <p:spPr>
          <a:xfrm>
            <a:off x="2430835" y="5368889"/>
            <a:ext cx="396775" cy="396775"/>
          </a:xfrm>
          <a:custGeom>
            <a:avLst/>
            <a:gdLst/>
            <a:ahLst/>
            <a:cxnLst/>
            <a:rect l="l" t="t" r="r" b="b"/>
            <a:pathLst>
              <a:path w="397510" h="397510">
                <a:moveTo>
                  <a:pt x="248119" y="223672"/>
                </a:moveTo>
                <a:lnTo>
                  <a:pt x="198246" y="223672"/>
                </a:lnTo>
                <a:lnTo>
                  <a:pt x="368045" y="396938"/>
                </a:lnTo>
                <a:lnTo>
                  <a:pt x="393573" y="371995"/>
                </a:lnTo>
                <a:lnTo>
                  <a:pt x="248119" y="223672"/>
                </a:lnTo>
                <a:close/>
              </a:path>
              <a:path w="397510" h="397510">
                <a:moveTo>
                  <a:pt x="28956" y="0"/>
                </a:moveTo>
                <a:lnTo>
                  <a:pt x="3429" y="24892"/>
                </a:lnTo>
                <a:lnTo>
                  <a:pt x="173355" y="198221"/>
                </a:lnTo>
                <a:lnTo>
                  <a:pt x="0" y="368071"/>
                </a:lnTo>
                <a:lnTo>
                  <a:pt x="25018" y="393522"/>
                </a:lnTo>
                <a:lnTo>
                  <a:pt x="198246" y="223672"/>
                </a:lnTo>
                <a:lnTo>
                  <a:pt x="248119" y="223672"/>
                </a:lnTo>
                <a:lnTo>
                  <a:pt x="223646" y="198716"/>
                </a:lnTo>
                <a:lnTo>
                  <a:pt x="249617" y="173266"/>
                </a:lnTo>
                <a:lnTo>
                  <a:pt x="198755" y="173266"/>
                </a:lnTo>
                <a:lnTo>
                  <a:pt x="28956" y="0"/>
                </a:lnTo>
                <a:close/>
              </a:path>
              <a:path w="397510" h="397510">
                <a:moveTo>
                  <a:pt x="371982" y="3429"/>
                </a:moveTo>
                <a:lnTo>
                  <a:pt x="198755" y="173266"/>
                </a:lnTo>
                <a:lnTo>
                  <a:pt x="249617" y="173266"/>
                </a:lnTo>
                <a:lnTo>
                  <a:pt x="397001" y="28829"/>
                </a:lnTo>
                <a:lnTo>
                  <a:pt x="371982" y="3429"/>
                </a:lnTo>
                <a:close/>
              </a:path>
            </a:pathLst>
          </a:custGeom>
          <a:solidFill>
            <a:srgbClr val="000000"/>
          </a:solidFill>
        </p:spPr>
        <p:txBody>
          <a:bodyPr wrap="square" lIns="0" tIns="0" rIns="0" bIns="0" rtlCol="0"/>
          <a:lstStyle/>
          <a:p>
            <a:pPr defTabSz="912754"/>
            <a:endParaRPr>
              <a:solidFill>
                <a:prstClr val="black"/>
              </a:solidFill>
            </a:endParaRPr>
          </a:p>
        </p:txBody>
      </p:sp>
      <p:sp>
        <p:nvSpPr>
          <p:cNvPr id="50" name="object 44"/>
          <p:cNvSpPr/>
          <p:nvPr/>
        </p:nvSpPr>
        <p:spPr>
          <a:xfrm>
            <a:off x="2430835" y="5368889"/>
            <a:ext cx="396775" cy="396775"/>
          </a:xfrm>
          <a:custGeom>
            <a:avLst/>
            <a:gdLst/>
            <a:ahLst/>
            <a:cxnLst/>
            <a:rect l="l" t="t" r="r" b="b"/>
            <a:pathLst>
              <a:path w="397510" h="397510">
                <a:moveTo>
                  <a:pt x="28956" y="0"/>
                </a:moveTo>
                <a:lnTo>
                  <a:pt x="198755" y="173266"/>
                </a:lnTo>
                <a:lnTo>
                  <a:pt x="371982" y="3429"/>
                </a:lnTo>
                <a:lnTo>
                  <a:pt x="397001" y="28829"/>
                </a:lnTo>
                <a:lnTo>
                  <a:pt x="223646" y="198716"/>
                </a:lnTo>
                <a:lnTo>
                  <a:pt x="393573" y="371995"/>
                </a:lnTo>
                <a:lnTo>
                  <a:pt x="368045" y="396938"/>
                </a:lnTo>
                <a:lnTo>
                  <a:pt x="198246" y="223672"/>
                </a:lnTo>
                <a:lnTo>
                  <a:pt x="25018" y="393522"/>
                </a:lnTo>
                <a:lnTo>
                  <a:pt x="0" y="368071"/>
                </a:lnTo>
                <a:lnTo>
                  <a:pt x="173355" y="198221"/>
                </a:lnTo>
                <a:lnTo>
                  <a:pt x="3429" y="24892"/>
                </a:lnTo>
                <a:lnTo>
                  <a:pt x="28956"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51" name="object 45"/>
          <p:cNvSpPr/>
          <p:nvPr/>
        </p:nvSpPr>
        <p:spPr>
          <a:xfrm>
            <a:off x="1817838" y="4392796"/>
            <a:ext cx="396775" cy="396775"/>
          </a:xfrm>
          <a:custGeom>
            <a:avLst/>
            <a:gdLst/>
            <a:ahLst/>
            <a:cxnLst/>
            <a:rect l="l" t="t" r="r" b="b"/>
            <a:pathLst>
              <a:path w="397509" h="397510">
                <a:moveTo>
                  <a:pt x="248259" y="223774"/>
                </a:moveTo>
                <a:lnTo>
                  <a:pt x="198208" y="223774"/>
                </a:lnTo>
                <a:lnTo>
                  <a:pt x="368134" y="397002"/>
                </a:lnTo>
                <a:lnTo>
                  <a:pt x="393534" y="371983"/>
                </a:lnTo>
                <a:lnTo>
                  <a:pt x="248259" y="223774"/>
                </a:lnTo>
                <a:close/>
              </a:path>
              <a:path w="397509" h="397510">
                <a:moveTo>
                  <a:pt x="28879" y="0"/>
                </a:moveTo>
                <a:lnTo>
                  <a:pt x="3428" y="25019"/>
                </a:lnTo>
                <a:lnTo>
                  <a:pt x="173316" y="198247"/>
                </a:lnTo>
                <a:lnTo>
                  <a:pt x="0" y="368173"/>
                </a:lnTo>
                <a:lnTo>
                  <a:pt x="24955" y="393573"/>
                </a:lnTo>
                <a:lnTo>
                  <a:pt x="198208" y="223774"/>
                </a:lnTo>
                <a:lnTo>
                  <a:pt x="248259" y="223774"/>
                </a:lnTo>
                <a:lnTo>
                  <a:pt x="223735" y="198755"/>
                </a:lnTo>
                <a:lnTo>
                  <a:pt x="249648" y="173355"/>
                </a:lnTo>
                <a:lnTo>
                  <a:pt x="198716" y="173355"/>
                </a:lnTo>
                <a:lnTo>
                  <a:pt x="28879" y="0"/>
                </a:lnTo>
                <a:close/>
              </a:path>
              <a:path w="397509" h="397510">
                <a:moveTo>
                  <a:pt x="371944" y="3429"/>
                </a:moveTo>
                <a:lnTo>
                  <a:pt x="198716" y="173355"/>
                </a:lnTo>
                <a:lnTo>
                  <a:pt x="249648" y="173355"/>
                </a:lnTo>
                <a:lnTo>
                  <a:pt x="396963" y="28956"/>
                </a:lnTo>
                <a:lnTo>
                  <a:pt x="371944" y="3429"/>
                </a:lnTo>
                <a:close/>
              </a:path>
            </a:pathLst>
          </a:custGeom>
          <a:solidFill>
            <a:srgbClr val="000000"/>
          </a:solidFill>
        </p:spPr>
        <p:txBody>
          <a:bodyPr wrap="square" lIns="0" tIns="0" rIns="0" bIns="0" rtlCol="0"/>
          <a:lstStyle/>
          <a:p>
            <a:pPr defTabSz="912754"/>
            <a:endParaRPr>
              <a:solidFill>
                <a:prstClr val="black"/>
              </a:solidFill>
            </a:endParaRPr>
          </a:p>
        </p:txBody>
      </p:sp>
      <p:sp>
        <p:nvSpPr>
          <p:cNvPr id="52" name="object 46"/>
          <p:cNvSpPr/>
          <p:nvPr/>
        </p:nvSpPr>
        <p:spPr>
          <a:xfrm>
            <a:off x="1817838" y="4392796"/>
            <a:ext cx="396775" cy="396775"/>
          </a:xfrm>
          <a:custGeom>
            <a:avLst/>
            <a:gdLst/>
            <a:ahLst/>
            <a:cxnLst/>
            <a:rect l="l" t="t" r="r" b="b"/>
            <a:pathLst>
              <a:path w="397509" h="397510">
                <a:moveTo>
                  <a:pt x="28879" y="0"/>
                </a:moveTo>
                <a:lnTo>
                  <a:pt x="198716" y="173355"/>
                </a:lnTo>
                <a:lnTo>
                  <a:pt x="371944" y="3429"/>
                </a:lnTo>
                <a:lnTo>
                  <a:pt x="396963" y="28956"/>
                </a:lnTo>
                <a:lnTo>
                  <a:pt x="223735" y="198755"/>
                </a:lnTo>
                <a:lnTo>
                  <a:pt x="393534" y="371983"/>
                </a:lnTo>
                <a:lnTo>
                  <a:pt x="368134" y="397002"/>
                </a:lnTo>
                <a:lnTo>
                  <a:pt x="198208" y="223774"/>
                </a:lnTo>
                <a:lnTo>
                  <a:pt x="24955" y="393573"/>
                </a:lnTo>
                <a:lnTo>
                  <a:pt x="0" y="368173"/>
                </a:lnTo>
                <a:lnTo>
                  <a:pt x="173316" y="198247"/>
                </a:lnTo>
                <a:lnTo>
                  <a:pt x="3428" y="25019"/>
                </a:lnTo>
                <a:lnTo>
                  <a:pt x="28879"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53" name="object 47"/>
          <p:cNvSpPr/>
          <p:nvPr/>
        </p:nvSpPr>
        <p:spPr>
          <a:xfrm>
            <a:off x="4913279" y="5811021"/>
            <a:ext cx="396775" cy="396775"/>
          </a:xfrm>
          <a:custGeom>
            <a:avLst/>
            <a:gdLst/>
            <a:ahLst/>
            <a:cxnLst/>
            <a:rect l="l" t="t" r="r" b="b"/>
            <a:pathLst>
              <a:path w="397510" h="397510">
                <a:moveTo>
                  <a:pt x="248119" y="223672"/>
                </a:moveTo>
                <a:lnTo>
                  <a:pt x="198247" y="223672"/>
                </a:lnTo>
                <a:lnTo>
                  <a:pt x="368045" y="396938"/>
                </a:lnTo>
                <a:lnTo>
                  <a:pt x="393573" y="371995"/>
                </a:lnTo>
                <a:lnTo>
                  <a:pt x="248119" y="223672"/>
                </a:lnTo>
                <a:close/>
              </a:path>
              <a:path w="397510" h="397510">
                <a:moveTo>
                  <a:pt x="28828" y="0"/>
                </a:moveTo>
                <a:lnTo>
                  <a:pt x="3428" y="24942"/>
                </a:lnTo>
                <a:lnTo>
                  <a:pt x="173227" y="198221"/>
                </a:lnTo>
                <a:lnTo>
                  <a:pt x="0" y="368071"/>
                </a:lnTo>
                <a:lnTo>
                  <a:pt x="24891" y="393522"/>
                </a:lnTo>
                <a:lnTo>
                  <a:pt x="198247" y="223672"/>
                </a:lnTo>
                <a:lnTo>
                  <a:pt x="248119" y="223672"/>
                </a:lnTo>
                <a:lnTo>
                  <a:pt x="223647" y="198716"/>
                </a:lnTo>
                <a:lnTo>
                  <a:pt x="249623" y="173266"/>
                </a:lnTo>
                <a:lnTo>
                  <a:pt x="198754" y="173266"/>
                </a:lnTo>
                <a:lnTo>
                  <a:pt x="28828" y="0"/>
                </a:lnTo>
                <a:close/>
              </a:path>
              <a:path w="397510" h="397510">
                <a:moveTo>
                  <a:pt x="371982" y="3416"/>
                </a:moveTo>
                <a:lnTo>
                  <a:pt x="198754" y="173266"/>
                </a:lnTo>
                <a:lnTo>
                  <a:pt x="249623" y="173266"/>
                </a:lnTo>
                <a:lnTo>
                  <a:pt x="397001" y="28867"/>
                </a:lnTo>
                <a:lnTo>
                  <a:pt x="371982" y="3416"/>
                </a:lnTo>
                <a:close/>
              </a:path>
            </a:pathLst>
          </a:custGeom>
          <a:solidFill>
            <a:srgbClr val="000000"/>
          </a:solidFill>
        </p:spPr>
        <p:txBody>
          <a:bodyPr wrap="square" lIns="0" tIns="0" rIns="0" bIns="0" rtlCol="0"/>
          <a:lstStyle/>
          <a:p>
            <a:pPr defTabSz="912754"/>
            <a:endParaRPr>
              <a:solidFill>
                <a:prstClr val="black"/>
              </a:solidFill>
            </a:endParaRPr>
          </a:p>
        </p:txBody>
      </p:sp>
      <p:sp>
        <p:nvSpPr>
          <p:cNvPr id="54" name="object 48"/>
          <p:cNvSpPr/>
          <p:nvPr/>
        </p:nvSpPr>
        <p:spPr>
          <a:xfrm>
            <a:off x="4913279" y="5811021"/>
            <a:ext cx="396775" cy="396775"/>
          </a:xfrm>
          <a:custGeom>
            <a:avLst/>
            <a:gdLst/>
            <a:ahLst/>
            <a:cxnLst/>
            <a:rect l="l" t="t" r="r" b="b"/>
            <a:pathLst>
              <a:path w="397510" h="397510">
                <a:moveTo>
                  <a:pt x="28828" y="0"/>
                </a:moveTo>
                <a:lnTo>
                  <a:pt x="198754" y="173266"/>
                </a:lnTo>
                <a:lnTo>
                  <a:pt x="371982" y="3416"/>
                </a:lnTo>
                <a:lnTo>
                  <a:pt x="397001" y="28867"/>
                </a:lnTo>
                <a:lnTo>
                  <a:pt x="223647" y="198716"/>
                </a:lnTo>
                <a:lnTo>
                  <a:pt x="393573" y="371995"/>
                </a:lnTo>
                <a:lnTo>
                  <a:pt x="368045" y="396938"/>
                </a:lnTo>
                <a:lnTo>
                  <a:pt x="198247" y="223672"/>
                </a:lnTo>
                <a:lnTo>
                  <a:pt x="24891" y="393522"/>
                </a:lnTo>
                <a:lnTo>
                  <a:pt x="0" y="368071"/>
                </a:lnTo>
                <a:lnTo>
                  <a:pt x="173227" y="198221"/>
                </a:lnTo>
                <a:lnTo>
                  <a:pt x="3428" y="24942"/>
                </a:lnTo>
                <a:lnTo>
                  <a:pt x="28828" y="0"/>
                </a:lnTo>
                <a:close/>
              </a:path>
            </a:pathLst>
          </a:custGeom>
          <a:ln w="38100">
            <a:solidFill>
              <a:srgbClr val="FF0000"/>
            </a:solidFill>
          </a:ln>
        </p:spPr>
        <p:txBody>
          <a:bodyPr wrap="square" lIns="0" tIns="0" rIns="0" bIns="0" rtlCol="0"/>
          <a:lstStyle/>
          <a:p>
            <a:pPr defTabSz="912754"/>
            <a:endParaRPr>
              <a:solidFill>
                <a:prstClr val="black"/>
              </a:solidFill>
            </a:endParaRPr>
          </a:p>
        </p:txBody>
      </p:sp>
      <p:sp>
        <p:nvSpPr>
          <p:cNvPr id="55" name="object 49"/>
          <p:cNvSpPr/>
          <p:nvPr/>
        </p:nvSpPr>
        <p:spPr>
          <a:xfrm>
            <a:off x="2736088" y="2850824"/>
            <a:ext cx="2748904" cy="2688057"/>
          </a:xfrm>
          <a:custGeom>
            <a:avLst/>
            <a:gdLst/>
            <a:ahLst/>
            <a:cxnLst/>
            <a:rect l="l" t="t" r="r" b="b"/>
            <a:pathLst>
              <a:path w="2753995" h="2693035">
                <a:moveTo>
                  <a:pt x="0" y="1346454"/>
                </a:moveTo>
                <a:lnTo>
                  <a:pt x="832" y="1299186"/>
                </a:lnTo>
                <a:lnTo>
                  <a:pt x="3312" y="1252328"/>
                </a:lnTo>
                <a:lnTo>
                  <a:pt x="7411" y="1205905"/>
                </a:lnTo>
                <a:lnTo>
                  <a:pt x="13103" y="1159945"/>
                </a:lnTo>
                <a:lnTo>
                  <a:pt x="20361" y="1114473"/>
                </a:lnTo>
                <a:lnTo>
                  <a:pt x="29156" y="1069517"/>
                </a:lnTo>
                <a:lnTo>
                  <a:pt x="39461" y="1025104"/>
                </a:lnTo>
                <a:lnTo>
                  <a:pt x="51250" y="981260"/>
                </a:lnTo>
                <a:lnTo>
                  <a:pt x="64495" y="938012"/>
                </a:lnTo>
                <a:lnTo>
                  <a:pt x="79169" y="895386"/>
                </a:lnTo>
                <a:lnTo>
                  <a:pt x="95244" y="853410"/>
                </a:lnTo>
                <a:lnTo>
                  <a:pt x="112693" y="812110"/>
                </a:lnTo>
                <a:lnTo>
                  <a:pt x="131489" y="771512"/>
                </a:lnTo>
                <a:lnTo>
                  <a:pt x="151604" y="731644"/>
                </a:lnTo>
                <a:lnTo>
                  <a:pt x="173012" y="692532"/>
                </a:lnTo>
                <a:lnTo>
                  <a:pt x="195684" y="654203"/>
                </a:lnTo>
                <a:lnTo>
                  <a:pt x="219594" y="616683"/>
                </a:lnTo>
                <a:lnTo>
                  <a:pt x="244714" y="580000"/>
                </a:lnTo>
                <a:lnTo>
                  <a:pt x="271017" y="544179"/>
                </a:lnTo>
                <a:lnTo>
                  <a:pt x="298476" y="509248"/>
                </a:lnTo>
                <a:lnTo>
                  <a:pt x="327063" y="475234"/>
                </a:lnTo>
                <a:lnTo>
                  <a:pt x="356751" y="442163"/>
                </a:lnTo>
                <a:lnTo>
                  <a:pt x="387513" y="410061"/>
                </a:lnTo>
                <a:lnTo>
                  <a:pt x="419321" y="378956"/>
                </a:lnTo>
                <a:lnTo>
                  <a:pt x="452149" y="348874"/>
                </a:lnTo>
                <a:lnTo>
                  <a:pt x="485968" y="319842"/>
                </a:lnTo>
                <a:lnTo>
                  <a:pt x="520752" y="291887"/>
                </a:lnTo>
                <a:lnTo>
                  <a:pt x="556473" y="265034"/>
                </a:lnTo>
                <a:lnTo>
                  <a:pt x="593104" y="239312"/>
                </a:lnTo>
                <a:lnTo>
                  <a:pt x="630617" y="214747"/>
                </a:lnTo>
                <a:lnTo>
                  <a:pt x="668986" y="191365"/>
                </a:lnTo>
                <a:lnTo>
                  <a:pt x="708183" y="169194"/>
                </a:lnTo>
                <a:lnTo>
                  <a:pt x="748181" y="148259"/>
                </a:lnTo>
                <a:lnTo>
                  <a:pt x="788952" y="128588"/>
                </a:lnTo>
                <a:lnTo>
                  <a:pt x="830469" y="110207"/>
                </a:lnTo>
                <a:lnTo>
                  <a:pt x="872705" y="93143"/>
                </a:lnTo>
                <a:lnTo>
                  <a:pt x="915633" y="77423"/>
                </a:lnTo>
                <a:lnTo>
                  <a:pt x="959224" y="63073"/>
                </a:lnTo>
                <a:lnTo>
                  <a:pt x="1003453" y="50120"/>
                </a:lnTo>
                <a:lnTo>
                  <a:pt x="1048291" y="38591"/>
                </a:lnTo>
                <a:lnTo>
                  <a:pt x="1093711" y="28513"/>
                </a:lnTo>
                <a:lnTo>
                  <a:pt x="1139687" y="19912"/>
                </a:lnTo>
                <a:lnTo>
                  <a:pt x="1186190" y="12815"/>
                </a:lnTo>
                <a:lnTo>
                  <a:pt x="1233194" y="7248"/>
                </a:lnTo>
                <a:lnTo>
                  <a:pt x="1280670" y="3239"/>
                </a:lnTo>
                <a:lnTo>
                  <a:pt x="1328593" y="814"/>
                </a:lnTo>
                <a:lnTo>
                  <a:pt x="1376933" y="0"/>
                </a:lnTo>
                <a:lnTo>
                  <a:pt x="1425274" y="814"/>
                </a:lnTo>
                <a:lnTo>
                  <a:pt x="1473197" y="3239"/>
                </a:lnTo>
                <a:lnTo>
                  <a:pt x="1520673" y="7248"/>
                </a:lnTo>
                <a:lnTo>
                  <a:pt x="1567677" y="12815"/>
                </a:lnTo>
                <a:lnTo>
                  <a:pt x="1614180" y="19912"/>
                </a:lnTo>
                <a:lnTo>
                  <a:pt x="1660156" y="28513"/>
                </a:lnTo>
                <a:lnTo>
                  <a:pt x="1705576" y="38591"/>
                </a:lnTo>
                <a:lnTo>
                  <a:pt x="1750414" y="50120"/>
                </a:lnTo>
                <a:lnTo>
                  <a:pt x="1794643" y="63073"/>
                </a:lnTo>
                <a:lnTo>
                  <a:pt x="1838234" y="77423"/>
                </a:lnTo>
                <a:lnTo>
                  <a:pt x="1881162" y="93143"/>
                </a:lnTo>
                <a:lnTo>
                  <a:pt x="1923398" y="110207"/>
                </a:lnTo>
                <a:lnTo>
                  <a:pt x="1964915" y="128588"/>
                </a:lnTo>
                <a:lnTo>
                  <a:pt x="2005686" y="148259"/>
                </a:lnTo>
                <a:lnTo>
                  <a:pt x="2045684" y="169194"/>
                </a:lnTo>
                <a:lnTo>
                  <a:pt x="2084881" y="191365"/>
                </a:lnTo>
                <a:lnTo>
                  <a:pt x="2123250" y="214747"/>
                </a:lnTo>
                <a:lnTo>
                  <a:pt x="2160763" y="239312"/>
                </a:lnTo>
                <a:lnTo>
                  <a:pt x="2197394" y="265034"/>
                </a:lnTo>
                <a:lnTo>
                  <a:pt x="2233115" y="291887"/>
                </a:lnTo>
                <a:lnTo>
                  <a:pt x="2267899" y="319842"/>
                </a:lnTo>
                <a:lnTo>
                  <a:pt x="2301718" y="348874"/>
                </a:lnTo>
                <a:lnTo>
                  <a:pt x="2334546" y="378956"/>
                </a:lnTo>
                <a:lnTo>
                  <a:pt x="2366354" y="410061"/>
                </a:lnTo>
                <a:lnTo>
                  <a:pt x="2397116" y="442163"/>
                </a:lnTo>
                <a:lnTo>
                  <a:pt x="2426804" y="475234"/>
                </a:lnTo>
                <a:lnTo>
                  <a:pt x="2455391" y="509248"/>
                </a:lnTo>
                <a:lnTo>
                  <a:pt x="2482850" y="544179"/>
                </a:lnTo>
                <a:lnTo>
                  <a:pt x="2509153" y="580000"/>
                </a:lnTo>
                <a:lnTo>
                  <a:pt x="2534273" y="616683"/>
                </a:lnTo>
                <a:lnTo>
                  <a:pt x="2558183" y="654203"/>
                </a:lnTo>
                <a:lnTo>
                  <a:pt x="2580855" y="692532"/>
                </a:lnTo>
                <a:lnTo>
                  <a:pt x="2602263" y="731644"/>
                </a:lnTo>
                <a:lnTo>
                  <a:pt x="2622378" y="771512"/>
                </a:lnTo>
                <a:lnTo>
                  <a:pt x="2641174" y="812110"/>
                </a:lnTo>
                <a:lnTo>
                  <a:pt x="2658623" y="853410"/>
                </a:lnTo>
                <a:lnTo>
                  <a:pt x="2674698" y="895386"/>
                </a:lnTo>
                <a:lnTo>
                  <a:pt x="2689372" y="938012"/>
                </a:lnTo>
                <a:lnTo>
                  <a:pt x="2702617" y="981260"/>
                </a:lnTo>
                <a:lnTo>
                  <a:pt x="2714406" y="1025104"/>
                </a:lnTo>
                <a:lnTo>
                  <a:pt x="2724711" y="1069517"/>
                </a:lnTo>
                <a:lnTo>
                  <a:pt x="2733506" y="1114473"/>
                </a:lnTo>
                <a:lnTo>
                  <a:pt x="2740764" y="1159945"/>
                </a:lnTo>
                <a:lnTo>
                  <a:pt x="2746456" y="1205905"/>
                </a:lnTo>
                <a:lnTo>
                  <a:pt x="2750555" y="1252328"/>
                </a:lnTo>
                <a:lnTo>
                  <a:pt x="2753035" y="1299186"/>
                </a:lnTo>
                <a:lnTo>
                  <a:pt x="2753867" y="1346454"/>
                </a:lnTo>
                <a:lnTo>
                  <a:pt x="2753035" y="1393721"/>
                </a:lnTo>
                <a:lnTo>
                  <a:pt x="2750555" y="1440579"/>
                </a:lnTo>
                <a:lnTo>
                  <a:pt x="2746456" y="1487002"/>
                </a:lnTo>
                <a:lnTo>
                  <a:pt x="2740764" y="1532962"/>
                </a:lnTo>
                <a:lnTo>
                  <a:pt x="2733506" y="1578434"/>
                </a:lnTo>
                <a:lnTo>
                  <a:pt x="2724711" y="1623390"/>
                </a:lnTo>
                <a:lnTo>
                  <a:pt x="2714406" y="1667803"/>
                </a:lnTo>
                <a:lnTo>
                  <a:pt x="2702617" y="1711647"/>
                </a:lnTo>
                <a:lnTo>
                  <a:pt x="2689372" y="1754895"/>
                </a:lnTo>
                <a:lnTo>
                  <a:pt x="2674698" y="1797521"/>
                </a:lnTo>
                <a:lnTo>
                  <a:pt x="2658623" y="1839497"/>
                </a:lnTo>
                <a:lnTo>
                  <a:pt x="2641174" y="1880797"/>
                </a:lnTo>
                <a:lnTo>
                  <a:pt x="2622378" y="1921395"/>
                </a:lnTo>
                <a:lnTo>
                  <a:pt x="2602263" y="1961263"/>
                </a:lnTo>
                <a:lnTo>
                  <a:pt x="2580855" y="2000375"/>
                </a:lnTo>
                <a:lnTo>
                  <a:pt x="2558183" y="2038704"/>
                </a:lnTo>
                <a:lnTo>
                  <a:pt x="2534273" y="2076224"/>
                </a:lnTo>
                <a:lnTo>
                  <a:pt x="2509153" y="2112907"/>
                </a:lnTo>
                <a:lnTo>
                  <a:pt x="2482850" y="2148728"/>
                </a:lnTo>
                <a:lnTo>
                  <a:pt x="2455391" y="2183659"/>
                </a:lnTo>
                <a:lnTo>
                  <a:pt x="2426804" y="2217673"/>
                </a:lnTo>
                <a:lnTo>
                  <a:pt x="2397116" y="2250744"/>
                </a:lnTo>
                <a:lnTo>
                  <a:pt x="2366354" y="2282846"/>
                </a:lnTo>
                <a:lnTo>
                  <a:pt x="2334546" y="2313951"/>
                </a:lnTo>
                <a:lnTo>
                  <a:pt x="2301718" y="2344033"/>
                </a:lnTo>
                <a:lnTo>
                  <a:pt x="2267899" y="2373065"/>
                </a:lnTo>
                <a:lnTo>
                  <a:pt x="2233115" y="2401020"/>
                </a:lnTo>
                <a:lnTo>
                  <a:pt x="2197394" y="2427873"/>
                </a:lnTo>
                <a:lnTo>
                  <a:pt x="2160763" y="2453595"/>
                </a:lnTo>
                <a:lnTo>
                  <a:pt x="2123250" y="2478160"/>
                </a:lnTo>
                <a:lnTo>
                  <a:pt x="2084881" y="2501542"/>
                </a:lnTo>
                <a:lnTo>
                  <a:pt x="2045684" y="2523713"/>
                </a:lnTo>
                <a:lnTo>
                  <a:pt x="2005686" y="2544648"/>
                </a:lnTo>
                <a:lnTo>
                  <a:pt x="1964915" y="2564319"/>
                </a:lnTo>
                <a:lnTo>
                  <a:pt x="1923398" y="2582700"/>
                </a:lnTo>
                <a:lnTo>
                  <a:pt x="1881162" y="2599764"/>
                </a:lnTo>
                <a:lnTo>
                  <a:pt x="1838234" y="2615484"/>
                </a:lnTo>
                <a:lnTo>
                  <a:pt x="1794643" y="2629834"/>
                </a:lnTo>
                <a:lnTo>
                  <a:pt x="1750414" y="2642787"/>
                </a:lnTo>
                <a:lnTo>
                  <a:pt x="1705576" y="2654316"/>
                </a:lnTo>
                <a:lnTo>
                  <a:pt x="1660156" y="2664394"/>
                </a:lnTo>
                <a:lnTo>
                  <a:pt x="1614180" y="2672995"/>
                </a:lnTo>
                <a:lnTo>
                  <a:pt x="1567677" y="2680092"/>
                </a:lnTo>
                <a:lnTo>
                  <a:pt x="1520673" y="2685659"/>
                </a:lnTo>
                <a:lnTo>
                  <a:pt x="1473197" y="2689668"/>
                </a:lnTo>
                <a:lnTo>
                  <a:pt x="1425274" y="2692093"/>
                </a:lnTo>
                <a:lnTo>
                  <a:pt x="1376933" y="2692908"/>
                </a:lnTo>
                <a:lnTo>
                  <a:pt x="1328593" y="2692093"/>
                </a:lnTo>
                <a:lnTo>
                  <a:pt x="1280670" y="2689668"/>
                </a:lnTo>
                <a:lnTo>
                  <a:pt x="1233194" y="2685659"/>
                </a:lnTo>
                <a:lnTo>
                  <a:pt x="1186190" y="2680092"/>
                </a:lnTo>
                <a:lnTo>
                  <a:pt x="1139687" y="2672995"/>
                </a:lnTo>
                <a:lnTo>
                  <a:pt x="1093711" y="2664394"/>
                </a:lnTo>
                <a:lnTo>
                  <a:pt x="1048291" y="2654316"/>
                </a:lnTo>
                <a:lnTo>
                  <a:pt x="1003453" y="2642787"/>
                </a:lnTo>
                <a:lnTo>
                  <a:pt x="959224" y="2629834"/>
                </a:lnTo>
                <a:lnTo>
                  <a:pt x="915633" y="2615484"/>
                </a:lnTo>
                <a:lnTo>
                  <a:pt x="872705" y="2599764"/>
                </a:lnTo>
                <a:lnTo>
                  <a:pt x="830469" y="2582700"/>
                </a:lnTo>
                <a:lnTo>
                  <a:pt x="788952" y="2564319"/>
                </a:lnTo>
                <a:lnTo>
                  <a:pt x="748181" y="2544648"/>
                </a:lnTo>
                <a:lnTo>
                  <a:pt x="708183" y="2523713"/>
                </a:lnTo>
                <a:lnTo>
                  <a:pt x="668986" y="2501542"/>
                </a:lnTo>
                <a:lnTo>
                  <a:pt x="630617" y="2478160"/>
                </a:lnTo>
                <a:lnTo>
                  <a:pt x="593104" y="2453595"/>
                </a:lnTo>
                <a:lnTo>
                  <a:pt x="556473" y="2427873"/>
                </a:lnTo>
                <a:lnTo>
                  <a:pt x="520752" y="2401020"/>
                </a:lnTo>
                <a:lnTo>
                  <a:pt x="485968" y="2373065"/>
                </a:lnTo>
                <a:lnTo>
                  <a:pt x="452149" y="2344033"/>
                </a:lnTo>
                <a:lnTo>
                  <a:pt x="419321" y="2313951"/>
                </a:lnTo>
                <a:lnTo>
                  <a:pt x="387513" y="2282846"/>
                </a:lnTo>
                <a:lnTo>
                  <a:pt x="356751" y="2250744"/>
                </a:lnTo>
                <a:lnTo>
                  <a:pt x="327063" y="2217673"/>
                </a:lnTo>
                <a:lnTo>
                  <a:pt x="298476" y="2183659"/>
                </a:lnTo>
                <a:lnTo>
                  <a:pt x="271017" y="2148728"/>
                </a:lnTo>
                <a:lnTo>
                  <a:pt x="244714" y="2112907"/>
                </a:lnTo>
                <a:lnTo>
                  <a:pt x="219594" y="2076224"/>
                </a:lnTo>
                <a:lnTo>
                  <a:pt x="195684" y="2038704"/>
                </a:lnTo>
                <a:lnTo>
                  <a:pt x="173012" y="2000375"/>
                </a:lnTo>
                <a:lnTo>
                  <a:pt x="151604" y="1961263"/>
                </a:lnTo>
                <a:lnTo>
                  <a:pt x="131489" y="1921395"/>
                </a:lnTo>
                <a:lnTo>
                  <a:pt x="112693" y="1880797"/>
                </a:lnTo>
                <a:lnTo>
                  <a:pt x="95244" y="1839497"/>
                </a:lnTo>
                <a:lnTo>
                  <a:pt x="79169" y="1797521"/>
                </a:lnTo>
                <a:lnTo>
                  <a:pt x="64495" y="1754895"/>
                </a:lnTo>
                <a:lnTo>
                  <a:pt x="51250" y="1711647"/>
                </a:lnTo>
                <a:lnTo>
                  <a:pt x="39461" y="1667803"/>
                </a:lnTo>
                <a:lnTo>
                  <a:pt x="29156" y="1623390"/>
                </a:lnTo>
                <a:lnTo>
                  <a:pt x="20361" y="1578434"/>
                </a:lnTo>
                <a:lnTo>
                  <a:pt x="13103" y="1532962"/>
                </a:lnTo>
                <a:lnTo>
                  <a:pt x="7411" y="1487002"/>
                </a:lnTo>
                <a:lnTo>
                  <a:pt x="3312" y="1440579"/>
                </a:lnTo>
                <a:lnTo>
                  <a:pt x="832" y="1393721"/>
                </a:lnTo>
                <a:lnTo>
                  <a:pt x="0" y="1346454"/>
                </a:lnTo>
                <a:close/>
              </a:path>
            </a:pathLst>
          </a:custGeom>
          <a:ln w="38100">
            <a:solidFill>
              <a:srgbClr val="28FFFF"/>
            </a:solidFill>
          </a:ln>
        </p:spPr>
        <p:txBody>
          <a:bodyPr wrap="square" lIns="0" tIns="0" rIns="0" bIns="0" rtlCol="0"/>
          <a:lstStyle/>
          <a:p>
            <a:pPr defTabSz="912754"/>
            <a:endParaRPr>
              <a:solidFill>
                <a:prstClr val="black"/>
              </a:solidFill>
            </a:endParaRPr>
          </a:p>
        </p:txBody>
      </p:sp>
      <p:sp>
        <p:nvSpPr>
          <p:cNvPr id="56" name="object 50"/>
          <p:cNvSpPr txBox="1"/>
          <p:nvPr/>
        </p:nvSpPr>
        <p:spPr>
          <a:xfrm>
            <a:off x="4528548" y="1861802"/>
            <a:ext cx="437973" cy="553998"/>
          </a:xfrm>
          <a:prstGeom prst="rect">
            <a:avLst/>
          </a:prstGeom>
        </p:spPr>
        <p:txBody>
          <a:bodyPr vert="horz" wrap="square" lIns="0" tIns="0" rIns="0" bIns="0" rtlCol="0">
            <a:spAutoFit/>
          </a:bodyPr>
          <a:lstStyle/>
          <a:p>
            <a:pPr marL="12677" defTabSz="912754"/>
            <a:r>
              <a:rPr spc="-5" dirty="0">
                <a:solidFill>
                  <a:prstClr val="black"/>
                </a:solidFill>
                <a:cs typeface="Segoe UI Light"/>
              </a:rPr>
              <a:t>y</a:t>
            </a:r>
            <a:r>
              <a:rPr spc="5" dirty="0">
                <a:solidFill>
                  <a:prstClr val="black"/>
                </a:solidFill>
                <a:cs typeface="Segoe UI Light"/>
              </a:rPr>
              <a:t>=</a:t>
            </a:r>
            <a:r>
              <a:rPr spc="314" dirty="0">
                <a:solidFill>
                  <a:prstClr val="black"/>
                </a:solidFill>
                <a:cs typeface="Segoe UI Light"/>
              </a:rPr>
              <a:t>1</a:t>
            </a:r>
            <a:endParaRPr>
              <a:solidFill>
                <a:prstClr val="black"/>
              </a:solidFill>
              <a:cs typeface="Segoe UI Light"/>
            </a:endParaRPr>
          </a:p>
        </p:txBody>
      </p:sp>
      <p:sp>
        <p:nvSpPr>
          <p:cNvPr id="3" name="TextBox 2"/>
          <p:cNvSpPr txBox="1"/>
          <p:nvPr/>
        </p:nvSpPr>
        <p:spPr>
          <a:xfrm>
            <a:off x="5903316" y="1661182"/>
            <a:ext cx="4344779" cy="1313180"/>
          </a:xfrm>
          <a:prstGeom prst="rect">
            <a:avLst/>
          </a:prstGeom>
          <a:noFill/>
        </p:spPr>
        <p:txBody>
          <a:bodyPr wrap="none" rtlCol="0">
            <a:spAutoFit/>
          </a:bodyPr>
          <a:lstStyle/>
          <a:p>
            <a:pPr marL="164169" defTabSz="912754">
              <a:lnSpc>
                <a:spcPts val="1567"/>
              </a:lnSpc>
              <a:tabLst>
                <a:tab pos="468420" algn="l"/>
                <a:tab pos="2525286" algn="l"/>
                <a:tab pos="3339158" algn="l"/>
              </a:tabLst>
            </a:pPr>
            <a:r>
              <a:rPr lang="en-US" spc="-5" dirty="0">
                <a:solidFill>
                  <a:srgbClr val="000000"/>
                </a:solidFill>
                <a:cs typeface="Segoe UI Light"/>
              </a:rPr>
              <a:t>h(x) </a:t>
            </a:r>
            <a:r>
              <a:rPr lang="en-US" dirty="0">
                <a:solidFill>
                  <a:srgbClr val="000000"/>
                </a:solidFill>
                <a:cs typeface="Segoe UI Light"/>
              </a:rPr>
              <a:t>=</a:t>
            </a:r>
            <a:r>
              <a:rPr lang="en-US" spc="-85" dirty="0">
                <a:solidFill>
                  <a:srgbClr val="000000"/>
                </a:solidFill>
                <a:cs typeface="Segoe UI Light"/>
              </a:rPr>
              <a:t> </a:t>
            </a:r>
            <a:r>
              <a:rPr lang="en-US" spc="5" dirty="0">
                <a:solidFill>
                  <a:srgbClr val="000000"/>
                </a:solidFill>
                <a:cs typeface="Segoe UI Light"/>
              </a:rPr>
              <a:t>g(</a:t>
            </a:r>
            <a:r>
              <a:rPr lang="el-GR" spc="5" dirty="0">
                <a:solidFill>
                  <a:srgbClr val="000000"/>
                </a:solidFill>
                <a:cs typeface="Segoe UI Light"/>
              </a:rPr>
              <a:t>θ</a:t>
            </a:r>
            <a:r>
              <a:rPr lang="el-GR" spc="7" baseline="-21367" dirty="0">
                <a:solidFill>
                  <a:srgbClr val="000000"/>
                </a:solidFill>
                <a:cs typeface="Segoe UI Light"/>
              </a:rPr>
              <a:t>0</a:t>
            </a:r>
            <a:r>
              <a:rPr lang="en-US" spc="7" baseline="-21367" dirty="0">
                <a:solidFill>
                  <a:srgbClr val="000000"/>
                </a:solidFill>
                <a:cs typeface="Segoe UI Light"/>
              </a:rPr>
              <a:t> </a:t>
            </a:r>
            <a:r>
              <a:rPr lang="el-GR" dirty="0">
                <a:solidFill>
                  <a:srgbClr val="000000"/>
                </a:solidFill>
                <a:cs typeface="Segoe UI Light"/>
              </a:rPr>
              <a:t>+θ</a:t>
            </a:r>
            <a:r>
              <a:rPr lang="el-GR" spc="321" baseline="-21367" dirty="0">
                <a:solidFill>
                  <a:srgbClr val="000000"/>
                </a:solidFill>
                <a:cs typeface="Segoe UI Light"/>
              </a:rPr>
              <a:t>1</a:t>
            </a:r>
            <a:r>
              <a:rPr lang="el-GR" spc="-5" dirty="0">
                <a:solidFill>
                  <a:srgbClr val="000000"/>
                </a:solidFill>
                <a:cs typeface="Segoe UI Light"/>
              </a:rPr>
              <a:t>x</a:t>
            </a:r>
            <a:r>
              <a:rPr lang="el-GR" spc="329" baseline="-21367" dirty="0">
                <a:solidFill>
                  <a:srgbClr val="000000"/>
                </a:solidFill>
                <a:cs typeface="Segoe UI Light"/>
              </a:rPr>
              <a:t>1</a:t>
            </a:r>
            <a:r>
              <a:rPr lang="el-GR" baseline="-21367" dirty="0">
                <a:solidFill>
                  <a:srgbClr val="000000"/>
                </a:solidFill>
                <a:cs typeface="Segoe UI Light"/>
              </a:rPr>
              <a:t> </a:t>
            </a:r>
            <a:r>
              <a:rPr lang="el-GR" dirty="0">
                <a:solidFill>
                  <a:srgbClr val="000000"/>
                </a:solidFill>
                <a:cs typeface="Segoe UI Light"/>
              </a:rPr>
              <a:t>+</a:t>
            </a:r>
            <a:r>
              <a:rPr lang="el-GR" spc="-5" dirty="0">
                <a:solidFill>
                  <a:srgbClr val="000000"/>
                </a:solidFill>
                <a:cs typeface="Segoe UI Light"/>
              </a:rPr>
              <a:t> </a:t>
            </a:r>
            <a:r>
              <a:rPr lang="el-GR" dirty="0">
                <a:solidFill>
                  <a:srgbClr val="000000"/>
                </a:solidFill>
                <a:cs typeface="Segoe UI Light"/>
              </a:rPr>
              <a:t>θ</a:t>
            </a:r>
            <a:r>
              <a:rPr lang="el-GR" spc="15" baseline="-21367" dirty="0">
                <a:solidFill>
                  <a:srgbClr val="000000"/>
                </a:solidFill>
                <a:cs typeface="Segoe UI Light"/>
              </a:rPr>
              <a:t>2</a:t>
            </a:r>
            <a:r>
              <a:rPr lang="el-GR" spc="-5" dirty="0">
                <a:solidFill>
                  <a:srgbClr val="000000"/>
                </a:solidFill>
                <a:cs typeface="Segoe UI Light"/>
              </a:rPr>
              <a:t>x</a:t>
            </a:r>
            <a:r>
              <a:rPr lang="el-GR" spc="15" baseline="-21367" dirty="0">
                <a:solidFill>
                  <a:srgbClr val="000000"/>
                </a:solidFill>
                <a:cs typeface="Segoe UI Light"/>
              </a:rPr>
              <a:t>2</a:t>
            </a:r>
            <a:r>
              <a:rPr lang="el-GR" dirty="0">
                <a:solidFill>
                  <a:srgbClr val="000000"/>
                </a:solidFill>
                <a:cs typeface="Segoe UI Light"/>
              </a:rPr>
              <a:t>+</a:t>
            </a:r>
            <a:r>
              <a:rPr lang="el-GR" spc="-5" dirty="0">
                <a:solidFill>
                  <a:srgbClr val="000000"/>
                </a:solidFill>
                <a:cs typeface="Segoe UI Light"/>
              </a:rPr>
              <a:t> </a:t>
            </a:r>
            <a:r>
              <a:rPr lang="el-GR" dirty="0">
                <a:solidFill>
                  <a:srgbClr val="000000"/>
                </a:solidFill>
                <a:cs typeface="Segoe UI Light"/>
              </a:rPr>
              <a:t>θ</a:t>
            </a:r>
            <a:r>
              <a:rPr lang="el-GR" spc="15" baseline="-21367" dirty="0">
                <a:solidFill>
                  <a:srgbClr val="000000"/>
                </a:solidFill>
                <a:cs typeface="Segoe UI Light"/>
              </a:rPr>
              <a:t>3</a:t>
            </a:r>
            <a:r>
              <a:rPr lang="el-GR" spc="-5" dirty="0">
                <a:solidFill>
                  <a:srgbClr val="000000"/>
                </a:solidFill>
                <a:cs typeface="Segoe UI Light"/>
              </a:rPr>
              <a:t>x</a:t>
            </a:r>
            <a:r>
              <a:rPr lang="el-GR" spc="329" baseline="-21367" dirty="0">
                <a:solidFill>
                  <a:srgbClr val="000000"/>
                </a:solidFill>
                <a:cs typeface="Segoe UI Light"/>
              </a:rPr>
              <a:t>1</a:t>
            </a:r>
            <a:r>
              <a:rPr lang="el-GR" dirty="0">
                <a:solidFill>
                  <a:srgbClr val="000000"/>
                </a:solidFill>
                <a:cs typeface="Segoe UI Light"/>
              </a:rPr>
              <a:t>+</a:t>
            </a:r>
            <a:r>
              <a:rPr lang="el-GR" spc="-5" dirty="0">
                <a:solidFill>
                  <a:srgbClr val="000000"/>
                </a:solidFill>
                <a:cs typeface="Segoe UI Light"/>
              </a:rPr>
              <a:t> </a:t>
            </a:r>
            <a:r>
              <a:rPr lang="el-GR" dirty="0">
                <a:solidFill>
                  <a:srgbClr val="000000"/>
                </a:solidFill>
                <a:cs typeface="Segoe UI Light"/>
              </a:rPr>
              <a:t>θ</a:t>
            </a:r>
            <a:r>
              <a:rPr lang="el-GR" spc="-15" baseline="-21367" dirty="0">
                <a:solidFill>
                  <a:srgbClr val="000000"/>
                </a:solidFill>
                <a:cs typeface="Segoe UI Light"/>
              </a:rPr>
              <a:t>4</a:t>
            </a:r>
            <a:r>
              <a:rPr lang="el-GR" spc="-5" dirty="0">
                <a:solidFill>
                  <a:srgbClr val="000000"/>
                </a:solidFill>
                <a:cs typeface="Segoe UI Light"/>
              </a:rPr>
              <a:t>x</a:t>
            </a:r>
            <a:r>
              <a:rPr lang="el-GR" spc="22" baseline="-21367" dirty="0">
                <a:solidFill>
                  <a:srgbClr val="000000"/>
                </a:solidFill>
                <a:cs typeface="Segoe UI Light"/>
              </a:rPr>
              <a:t>2</a:t>
            </a:r>
            <a:r>
              <a:rPr lang="el-GR" dirty="0">
                <a:solidFill>
                  <a:srgbClr val="000000"/>
                </a:solidFill>
                <a:cs typeface="Segoe UI Light"/>
              </a:rPr>
              <a:t>)</a:t>
            </a:r>
          </a:p>
          <a:p>
            <a:pPr defTabSz="912754">
              <a:spcBef>
                <a:spcPts val="10"/>
              </a:spcBef>
            </a:pPr>
            <a:endParaRPr lang="el-GR" dirty="0">
              <a:solidFill>
                <a:srgbClr val="000000"/>
              </a:solidFill>
              <a:cs typeface="Times New Roman"/>
            </a:endParaRPr>
          </a:p>
          <a:p>
            <a:pPr marL="12677" defTabSz="912754">
              <a:tabLst>
                <a:tab pos="871553" algn="l"/>
                <a:tab pos="1766559" algn="l"/>
                <a:tab pos="2524019" algn="l"/>
              </a:tabLst>
            </a:pPr>
            <a:r>
              <a:rPr lang="en-US" spc="155" dirty="0">
                <a:solidFill>
                  <a:srgbClr val="000000"/>
                </a:solidFill>
                <a:cs typeface="Segoe UI Light"/>
              </a:rPr>
              <a:t>     	    -1	0	0	      1	    1</a:t>
            </a:r>
            <a:endParaRPr lang="el-GR" dirty="0">
              <a:solidFill>
                <a:srgbClr val="000000"/>
              </a:solidFill>
              <a:cs typeface="Segoe UI Light"/>
            </a:endParaRPr>
          </a:p>
          <a:p>
            <a:pPr defTabSz="912754"/>
            <a:endParaRPr lang="el-GR" baseline="-21367" dirty="0">
              <a:solidFill>
                <a:srgbClr val="000000"/>
              </a:solidFill>
              <a:cs typeface="Segoe UI Light"/>
            </a:endParaRPr>
          </a:p>
          <a:p>
            <a:pPr defTabSz="912754"/>
            <a:endParaRPr lang="en-US" dirty="0">
              <a:solidFill>
                <a:srgbClr val="000000"/>
              </a:solidFill>
            </a:endParaRPr>
          </a:p>
        </p:txBody>
      </p:sp>
      <p:sp>
        <p:nvSpPr>
          <p:cNvPr id="7" name="TextBox 6"/>
          <p:cNvSpPr txBox="1"/>
          <p:nvPr/>
        </p:nvSpPr>
        <p:spPr>
          <a:xfrm>
            <a:off x="7103643" y="3593476"/>
            <a:ext cx="2736775" cy="1200329"/>
          </a:xfrm>
          <a:prstGeom prst="rect">
            <a:avLst/>
          </a:prstGeom>
          <a:noFill/>
        </p:spPr>
        <p:txBody>
          <a:bodyPr wrap="none" rtlCol="0">
            <a:spAutoFit/>
          </a:bodyPr>
          <a:lstStyle/>
          <a:p>
            <a:pPr defTabSz="912754"/>
            <a:r>
              <a:rPr lang="en-US" spc="-5" dirty="0">
                <a:solidFill>
                  <a:srgbClr val="000000"/>
                </a:solidFill>
                <a:cs typeface="Segoe UI Light"/>
              </a:rPr>
              <a:t>predict</a:t>
            </a:r>
            <a:r>
              <a:rPr lang="en-US" spc="5" dirty="0">
                <a:solidFill>
                  <a:srgbClr val="000000"/>
                </a:solidFill>
                <a:cs typeface="Segoe UI Light"/>
              </a:rPr>
              <a:t> </a:t>
            </a:r>
            <a:r>
              <a:rPr lang="en-US" spc="65" dirty="0">
                <a:solidFill>
                  <a:srgbClr val="000000"/>
                </a:solidFill>
                <a:cs typeface="Segoe UI Light"/>
              </a:rPr>
              <a:t>“y=1”</a:t>
            </a:r>
            <a:r>
              <a:rPr lang="en-US" spc="5" dirty="0">
                <a:solidFill>
                  <a:srgbClr val="000000"/>
                </a:solidFill>
                <a:cs typeface="Segoe UI Light"/>
              </a:rPr>
              <a:t> </a:t>
            </a:r>
            <a:r>
              <a:rPr lang="en-US" spc="-5" dirty="0">
                <a:solidFill>
                  <a:srgbClr val="000000"/>
                </a:solidFill>
                <a:cs typeface="Segoe UI Light"/>
              </a:rPr>
              <a:t>if </a:t>
            </a:r>
            <a:r>
              <a:rPr lang="en-US" spc="10" dirty="0" err="1">
                <a:solidFill>
                  <a:srgbClr val="000000"/>
                </a:solidFill>
                <a:cs typeface="Segoe UI Light"/>
              </a:rPr>
              <a:t>θ</a:t>
            </a:r>
            <a:r>
              <a:rPr lang="en-US" spc="15" baseline="25641" dirty="0" err="1">
                <a:solidFill>
                  <a:srgbClr val="000000"/>
                </a:solidFill>
                <a:cs typeface="Segoe UI Light"/>
              </a:rPr>
              <a:t>T</a:t>
            </a:r>
            <a:r>
              <a:rPr lang="en-US" spc="7" baseline="25641" dirty="0">
                <a:solidFill>
                  <a:srgbClr val="000000"/>
                </a:solidFill>
                <a:cs typeface="Segoe UI Light"/>
              </a:rPr>
              <a:t> </a:t>
            </a:r>
            <a:r>
              <a:rPr lang="en-US" dirty="0">
                <a:solidFill>
                  <a:srgbClr val="000000"/>
                </a:solidFill>
                <a:cs typeface="Segoe UI Light"/>
              </a:rPr>
              <a:t>x &gt;=</a:t>
            </a:r>
            <a:r>
              <a:rPr lang="en-US" spc="-110" dirty="0">
                <a:solidFill>
                  <a:srgbClr val="000000"/>
                </a:solidFill>
                <a:cs typeface="Segoe UI Light"/>
              </a:rPr>
              <a:t> </a:t>
            </a:r>
            <a:r>
              <a:rPr lang="en-US" dirty="0">
                <a:solidFill>
                  <a:srgbClr val="000000"/>
                </a:solidFill>
                <a:cs typeface="Segoe UI Light"/>
              </a:rPr>
              <a:t>0</a:t>
            </a:r>
          </a:p>
          <a:p>
            <a:pPr defTabSz="912754"/>
            <a:r>
              <a:rPr lang="en-US" spc="155" dirty="0">
                <a:solidFill>
                  <a:srgbClr val="000000"/>
                </a:solidFill>
                <a:cs typeface="Segoe UI Light"/>
              </a:rPr>
              <a:t>-1</a:t>
            </a:r>
            <a:r>
              <a:rPr lang="en-US" dirty="0">
                <a:solidFill>
                  <a:srgbClr val="000000"/>
                </a:solidFill>
                <a:cs typeface="Segoe UI Light"/>
              </a:rPr>
              <a:t> +</a:t>
            </a:r>
            <a:r>
              <a:rPr lang="en-US" spc="105" dirty="0">
                <a:solidFill>
                  <a:srgbClr val="000000"/>
                </a:solidFill>
                <a:cs typeface="Segoe UI Light"/>
              </a:rPr>
              <a:t>x</a:t>
            </a:r>
            <a:r>
              <a:rPr lang="en-US" spc="157" baseline="-21367" dirty="0">
                <a:solidFill>
                  <a:srgbClr val="000000"/>
                </a:solidFill>
                <a:cs typeface="Segoe UI Light"/>
              </a:rPr>
              <a:t>1</a:t>
            </a:r>
            <a:r>
              <a:rPr lang="en-US" spc="157" baseline="30000" dirty="0">
                <a:solidFill>
                  <a:srgbClr val="000000"/>
                </a:solidFill>
                <a:cs typeface="Segoe UI Light"/>
              </a:rPr>
              <a:t>2</a:t>
            </a:r>
            <a:r>
              <a:rPr lang="en-US" dirty="0">
                <a:solidFill>
                  <a:srgbClr val="000000"/>
                </a:solidFill>
                <a:cs typeface="Segoe UI Light"/>
              </a:rPr>
              <a:t>+</a:t>
            </a:r>
            <a:r>
              <a:rPr lang="en-US" spc="-100" dirty="0">
                <a:solidFill>
                  <a:srgbClr val="000000"/>
                </a:solidFill>
                <a:cs typeface="Segoe UI Light"/>
              </a:rPr>
              <a:t> </a:t>
            </a:r>
            <a:r>
              <a:rPr lang="en-US" spc="5" dirty="0">
                <a:solidFill>
                  <a:srgbClr val="000000"/>
                </a:solidFill>
                <a:cs typeface="Segoe UI Light"/>
              </a:rPr>
              <a:t>x</a:t>
            </a:r>
            <a:r>
              <a:rPr lang="en-US" spc="7" baseline="-21367" dirty="0">
                <a:solidFill>
                  <a:srgbClr val="000000"/>
                </a:solidFill>
                <a:cs typeface="Segoe UI Light"/>
              </a:rPr>
              <a:t>2 </a:t>
            </a:r>
            <a:r>
              <a:rPr lang="en-US" spc="7" baseline="30000" dirty="0">
                <a:solidFill>
                  <a:srgbClr val="000000"/>
                </a:solidFill>
                <a:cs typeface="Segoe UI Light"/>
              </a:rPr>
              <a:t>2</a:t>
            </a:r>
            <a:r>
              <a:rPr lang="en-US" spc="7" baseline="-21367" dirty="0">
                <a:solidFill>
                  <a:srgbClr val="000000"/>
                </a:solidFill>
                <a:cs typeface="Segoe UI Light"/>
              </a:rPr>
              <a:t> </a:t>
            </a:r>
            <a:r>
              <a:rPr lang="en-US" spc="-5" dirty="0">
                <a:solidFill>
                  <a:srgbClr val="000000"/>
                </a:solidFill>
                <a:cs typeface="Segoe UI Light"/>
                <a:sym typeface="Symbol" panose="05050102010706020507" pitchFamily="18" charset="2"/>
              </a:rPr>
              <a:t> 0</a:t>
            </a:r>
          </a:p>
          <a:p>
            <a:pPr defTabSz="912754"/>
            <a:r>
              <a:rPr lang="en-US" spc="-5" dirty="0">
                <a:solidFill>
                  <a:srgbClr val="000000"/>
                </a:solidFill>
                <a:cs typeface="Segoe UI Light"/>
                <a:sym typeface="Symbol" panose="05050102010706020507" pitchFamily="18" charset="2"/>
              </a:rPr>
              <a:t>Plot </a:t>
            </a:r>
            <a:r>
              <a:rPr lang="en-US" spc="105" dirty="0">
                <a:solidFill>
                  <a:srgbClr val="000000"/>
                </a:solidFill>
                <a:cs typeface="Segoe UI Light"/>
              </a:rPr>
              <a:t>x</a:t>
            </a:r>
            <a:r>
              <a:rPr lang="en-US" spc="157" baseline="-21367" dirty="0">
                <a:solidFill>
                  <a:srgbClr val="000000"/>
                </a:solidFill>
                <a:cs typeface="Segoe UI Light"/>
              </a:rPr>
              <a:t>1</a:t>
            </a:r>
            <a:r>
              <a:rPr lang="en-US" spc="157" baseline="30000" dirty="0">
                <a:solidFill>
                  <a:srgbClr val="000000"/>
                </a:solidFill>
                <a:cs typeface="Segoe UI Light"/>
              </a:rPr>
              <a:t>2</a:t>
            </a:r>
            <a:r>
              <a:rPr lang="en-US" dirty="0">
                <a:solidFill>
                  <a:srgbClr val="000000"/>
                </a:solidFill>
                <a:cs typeface="Segoe UI Light"/>
              </a:rPr>
              <a:t>+</a:t>
            </a:r>
            <a:r>
              <a:rPr lang="en-US" spc="-100" dirty="0">
                <a:solidFill>
                  <a:srgbClr val="000000"/>
                </a:solidFill>
                <a:cs typeface="Segoe UI Light"/>
              </a:rPr>
              <a:t> </a:t>
            </a:r>
            <a:r>
              <a:rPr lang="en-US" spc="5" dirty="0">
                <a:solidFill>
                  <a:srgbClr val="000000"/>
                </a:solidFill>
                <a:cs typeface="Segoe UI Light"/>
              </a:rPr>
              <a:t>x</a:t>
            </a:r>
            <a:r>
              <a:rPr lang="en-US" spc="7" baseline="-21367" dirty="0">
                <a:solidFill>
                  <a:srgbClr val="000000"/>
                </a:solidFill>
                <a:cs typeface="Segoe UI Light"/>
              </a:rPr>
              <a:t>2 </a:t>
            </a:r>
            <a:r>
              <a:rPr lang="en-US" spc="7" baseline="30000" dirty="0">
                <a:solidFill>
                  <a:srgbClr val="000000"/>
                </a:solidFill>
                <a:cs typeface="Segoe UI Light"/>
              </a:rPr>
              <a:t>2</a:t>
            </a:r>
            <a:r>
              <a:rPr lang="en-US" spc="7" baseline="-21367" dirty="0">
                <a:solidFill>
                  <a:srgbClr val="000000"/>
                </a:solidFill>
                <a:cs typeface="Segoe UI Light"/>
              </a:rPr>
              <a:t> </a:t>
            </a:r>
            <a:r>
              <a:rPr lang="en-US" spc="7" dirty="0">
                <a:solidFill>
                  <a:srgbClr val="000000"/>
                </a:solidFill>
                <a:cs typeface="Segoe UI Light"/>
              </a:rPr>
              <a:t>=1</a:t>
            </a:r>
          </a:p>
          <a:p>
            <a:pPr defTabSz="912754"/>
            <a:endParaRPr lang="en-US" dirty="0">
              <a:solidFill>
                <a:srgbClr val="000000"/>
              </a:solidFill>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40</a:t>
            </a:fld>
            <a:endParaRPr lang="en-US"/>
          </a:p>
        </p:txBody>
      </p:sp>
    </p:spTree>
    <p:extLst>
      <p:ext uri="{BB962C8B-B14F-4D97-AF65-F5344CB8AC3E}">
        <p14:creationId xmlns:p14="http://schemas.microsoft.com/office/powerpoint/2010/main" val="215607821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847DB54-D037-B84F-B6F1-2E8DA40D09AD}" type="slidenum">
              <a:rPr lang="en-US" smtClean="0"/>
              <a:pPr/>
              <a:t>41</a:t>
            </a:fld>
            <a:endParaRPr lang="en-US"/>
          </a:p>
        </p:txBody>
      </p:sp>
      <p:sp>
        <p:nvSpPr>
          <p:cNvPr id="6" name="TextBox 5"/>
          <p:cNvSpPr txBox="1"/>
          <p:nvPr/>
        </p:nvSpPr>
        <p:spPr>
          <a:xfrm>
            <a:off x="2597279" y="2896586"/>
            <a:ext cx="6997442" cy="1476389"/>
          </a:xfrm>
          <a:prstGeom prst="rect">
            <a:avLst/>
          </a:prstGeom>
          <a:noFill/>
        </p:spPr>
        <p:txBody>
          <a:bodyPr wrap="square" rtlCol="0">
            <a:spAutoFit/>
          </a:bodyPr>
          <a:lstStyle/>
          <a:p>
            <a:pPr algn="ctr" defTabSz="455541"/>
            <a:r>
              <a:rPr lang="nl-NL" sz="4400" dirty="0">
                <a:solidFill>
                  <a:srgbClr val="FFFFFF"/>
                </a:solidFill>
              </a:rPr>
              <a:t>Evaluation of Linear &amp; Logistic Regression</a:t>
            </a:r>
            <a:endParaRPr lang="en-US" sz="4400" dirty="0">
              <a:solidFill>
                <a:srgbClr val="FFFFFF"/>
              </a:solidFill>
            </a:endParaRPr>
          </a:p>
        </p:txBody>
      </p:sp>
    </p:spTree>
    <p:extLst>
      <p:ext uri="{BB962C8B-B14F-4D97-AF65-F5344CB8AC3E}">
        <p14:creationId xmlns:p14="http://schemas.microsoft.com/office/powerpoint/2010/main" val="298795724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a:latin typeface="Segoe UI Light" panose="020B0502040204020203" pitchFamily="34" charset="0"/>
                <a:cs typeface="Segoe UI Light" panose="020B0502040204020203" pitchFamily="34" charset="0"/>
              </a:rPr>
              <a:t>A Recap of Linear &amp; Logistic Regression</a:t>
            </a:r>
            <a:endParaRPr lang="en-US" dirty="0">
              <a:latin typeface="Segoe UI Light" panose="020B0502040204020203" pitchFamily="34" charset="0"/>
              <a:cs typeface="Segoe UI Light" panose="020B0502040204020203" pitchFamily="34" charset="0"/>
            </a:endParaRPr>
          </a:p>
        </p:txBody>
      </p:sp>
      <p:sp>
        <p:nvSpPr>
          <p:cNvPr id="60" name="Content Placeholder 13"/>
          <p:cNvSpPr>
            <a:spLocks noGrp="1"/>
          </p:cNvSpPr>
          <p:nvPr>
            <p:ph sz="quarter" idx="4294967295"/>
          </p:nvPr>
        </p:nvSpPr>
        <p:spPr bwMode="auto">
          <a:xfrm>
            <a:off x="6318418" y="1986128"/>
            <a:ext cx="4106862" cy="2587625"/>
          </a:xfrm>
          <a:prstGeom prst="rect">
            <a:avLst/>
          </a:prstGeom>
          <a:noFill/>
          <a:ln>
            <a:miter lim="800000"/>
            <a:headEnd/>
            <a:tailEnd/>
          </a:ln>
        </p:spPr>
        <p:txBody>
          <a:bodyPr vert="horz" wrap="square" lIns="91271" tIns="45635" rIns="91271" bIns="45635" numCol="1" anchor="t" anchorCtr="0" compatLnSpc="1">
            <a:prstTxWarp prst="textNoShape">
              <a:avLst/>
            </a:prstTxWarp>
          </a:bodyPr>
          <a:lstStyle/>
          <a:p>
            <a:pPr>
              <a:buClr>
                <a:schemeClr val="accent1"/>
              </a:buClr>
              <a:buSzPct val="100000"/>
              <a:buFont typeface="Wingdings" panose="05000000000000000000" pitchFamily="2" charset="2"/>
              <a:buChar char="§"/>
            </a:pPr>
            <a:r>
              <a:rPr lang="en-US" sz="1597" dirty="0">
                <a:solidFill>
                  <a:srgbClr val="505150"/>
                </a:solidFill>
                <a:latin typeface="Calibri" panose="020F0502020204030204" pitchFamily="34" charset="0"/>
              </a:rPr>
              <a:t>Focus on relative probability (odds) of obtaining a given result category </a:t>
            </a:r>
          </a:p>
          <a:p>
            <a:pPr>
              <a:buClr>
                <a:schemeClr val="accent1"/>
              </a:buClr>
              <a:buSzPct val="100000"/>
              <a:buFont typeface="Wingdings" panose="05000000000000000000" pitchFamily="2" charset="2"/>
              <a:buChar char="§"/>
            </a:pPr>
            <a:r>
              <a:rPr lang="en-US" sz="1597" dirty="0">
                <a:solidFill>
                  <a:srgbClr val="505150"/>
                </a:solidFill>
                <a:latin typeface="Calibri" panose="020F0502020204030204" pitchFamily="34" charset="0"/>
              </a:rPr>
              <a:t>The natural logarithm of the odds is linear across most of its range</a:t>
            </a:r>
          </a:p>
          <a:p>
            <a:pPr>
              <a:buClr>
                <a:schemeClr val="accent1"/>
              </a:buClr>
              <a:buSzPct val="100000"/>
              <a:buFont typeface="Wingdings" panose="05000000000000000000" pitchFamily="2" charset="2"/>
              <a:buChar char="§"/>
            </a:pPr>
            <a:r>
              <a:rPr lang="en-US" sz="1597" b="1" dirty="0">
                <a:solidFill>
                  <a:srgbClr val="505150"/>
                </a:solidFill>
                <a:latin typeface="Calibri" panose="020F0502020204030204" pitchFamily="34" charset="0"/>
              </a:rPr>
              <a:t>h(x)</a:t>
            </a:r>
            <a:r>
              <a:rPr lang="en-US" sz="1597" dirty="0">
                <a:solidFill>
                  <a:srgbClr val="505150"/>
                </a:solidFill>
                <a:latin typeface="Calibri" panose="020F0502020204030204" pitchFamily="34" charset="0"/>
              </a:rPr>
              <a:t>= probability of an event </a:t>
            </a:r>
          </a:p>
          <a:p>
            <a:pPr>
              <a:buClr>
                <a:schemeClr val="accent1"/>
              </a:buClr>
              <a:buSzPct val="100000"/>
              <a:buFont typeface="Wingdings" panose="05000000000000000000" pitchFamily="2" charset="2"/>
              <a:buChar char="§"/>
            </a:pPr>
            <a:r>
              <a:rPr lang="en-US" sz="1597" b="1" dirty="0">
                <a:solidFill>
                  <a:srgbClr val="505150"/>
                </a:solidFill>
                <a:latin typeface="Calibri" panose="020F0502020204030204" pitchFamily="34" charset="0"/>
              </a:rPr>
              <a:t>Ꝋ0 </a:t>
            </a:r>
            <a:r>
              <a:rPr lang="en-US" sz="1597" dirty="0">
                <a:solidFill>
                  <a:srgbClr val="505150"/>
                </a:solidFill>
                <a:latin typeface="Calibri" panose="020F0502020204030204" pitchFamily="34" charset="0"/>
              </a:rPr>
              <a:t>= intercept </a:t>
            </a:r>
          </a:p>
          <a:p>
            <a:pPr>
              <a:buClr>
                <a:schemeClr val="accent1"/>
              </a:buClr>
              <a:buSzPct val="100000"/>
              <a:buFont typeface="Wingdings" panose="05000000000000000000" pitchFamily="2" charset="2"/>
              <a:buChar char="§"/>
            </a:pPr>
            <a:r>
              <a:rPr lang="en-US" sz="1597" b="1" dirty="0">
                <a:solidFill>
                  <a:srgbClr val="505150"/>
                </a:solidFill>
                <a:latin typeface="Calibri" panose="020F0502020204030204" pitchFamily="34" charset="0"/>
              </a:rPr>
              <a:t>x1</a:t>
            </a:r>
            <a:r>
              <a:rPr lang="en-US" sz="1597" dirty="0">
                <a:solidFill>
                  <a:srgbClr val="505150"/>
                </a:solidFill>
                <a:latin typeface="Calibri" panose="020F0502020204030204" pitchFamily="34" charset="0"/>
              </a:rPr>
              <a:t> to </a:t>
            </a:r>
            <a:r>
              <a:rPr lang="en-US" sz="1597" b="1" dirty="0">
                <a:solidFill>
                  <a:srgbClr val="505150"/>
                </a:solidFill>
                <a:latin typeface="Calibri" panose="020F0502020204030204" pitchFamily="34" charset="0"/>
              </a:rPr>
              <a:t>xk</a:t>
            </a:r>
            <a:r>
              <a:rPr lang="en-US" sz="1597" dirty="0">
                <a:solidFill>
                  <a:srgbClr val="505150"/>
                </a:solidFill>
                <a:latin typeface="Calibri" panose="020F0502020204030204" pitchFamily="34" charset="0"/>
              </a:rPr>
              <a:t> represent the k independent variables </a:t>
            </a:r>
          </a:p>
          <a:p>
            <a:pPr>
              <a:buClr>
                <a:schemeClr val="accent1"/>
              </a:buClr>
              <a:buSzPct val="100000"/>
              <a:buFont typeface="Wingdings" panose="05000000000000000000" pitchFamily="2" charset="2"/>
              <a:buChar char="§"/>
            </a:pPr>
            <a:r>
              <a:rPr lang="en-US" sz="1597" b="1" dirty="0">
                <a:solidFill>
                  <a:srgbClr val="505150"/>
                </a:solidFill>
                <a:latin typeface="Calibri" panose="020F0502020204030204" pitchFamily="34" charset="0"/>
              </a:rPr>
              <a:t>Ꝋ1</a:t>
            </a:r>
            <a:r>
              <a:rPr lang="en-US" sz="1597" dirty="0">
                <a:solidFill>
                  <a:srgbClr val="505150"/>
                </a:solidFill>
                <a:latin typeface="Calibri" panose="020F0502020204030204" pitchFamily="34" charset="0"/>
              </a:rPr>
              <a:t> to </a:t>
            </a:r>
            <a:r>
              <a:rPr lang="en-US" sz="1597" b="1" dirty="0">
                <a:solidFill>
                  <a:srgbClr val="505150"/>
                </a:solidFill>
                <a:latin typeface="Calibri" panose="020F0502020204030204" pitchFamily="34" charset="0"/>
              </a:rPr>
              <a:t>Ꝋk</a:t>
            </a:r>
            <a:r>
              <a:rPr lang="en-US" sz="1597" dirty="0">
                <a:solidFill>
                  <a:srgbClr val="505150"/>
                </a:solidFill>
                <a:latin typeface="Calibri" panose="020F0502020204030204" pitchFamily="34" charset="0"/>
              </a:rPr>
              <a:t> = each independent variable’s association with the outcome (log odds)</a:t>
            </a:r>
          </a:p>
        </p:txBody>
      </p:sp>
      <p:sp>
        <p:nvSpPr>
          <p:cNvPr id="58" name="Content Placeholder 11"/>
          <p:cNvSpPr>
            <a:spLocks noGrp="1"/>
          </p:cNvSpPr>
          <p:nvPr>
            <p:ph sz="half" idx="4294967295"/>
          </p:nvPr>
        </p:nvSpPr>
        <p:spPr bwMode="auto">
          <a:xfrm>
            <a:off x="1763367" y="2046198"/>
            <a:ext cx="4106863" cy="2659063"/>
          </a:xfrm>
          <a:prstGeom prst="rect">
            <a:avLst/>
          </a:prstGeom>
          <a:noFill/>
          <a:ln>
            <a:miter lim="800000"/>
            <a:headEnd/>
            <a:tailEnd/>
          </a:ln>
        </p:spPr>
        <p:txBody>
          <a:bodyPr vert="horz" wrap="square" lIns="91271" tIns="45635" rIns="91271" bIns="45635" numCol="1" anchor="t" anchorCtr="0" compatLnSpc="1">
            <a:prstTxWarp prst="textNoShape">
              <a:avLst/>
            </a:prstTxWarp>
          </a:bodyPr>
          <a:lstStyle/>
          <a:p>
            <a:pPr>
              <a:buClr>
                <a:schemeClr val="accent1"/>
              </a:buClr>
              <a:buSzPct val="100000"/>
              <a:buFont typeface="Wingdings" panose="05000000000000000000" pitchFamily="2" charset="2"/>
              <a:buChar char="§"/>
            </a:pPr>
            <a:r>
              <a:rPr lang="en-US" sz="1600" dirty="0">
                <a:solidFill>
                  <a:srgbClr val="505150"/>
                </a:solidFill>
                <a:latin typeface="+mn-lt"/>
              </a:rPr>
              <a:t>Focus on predicting the values of a continuous outcome based on the values of the independent predictors </a:t>
            </a:r>
          </a:p>
          <a:p>
            <a:pPr>
              <a:buClr>
                <a:schemeClr val="accent1"/>
              </a:buClr>
              <a:buSzPct val="100000"/>
              <a:buFont typeface="Wingdings" panose="05000000000000000000" pitchFamily="2" charset="2"/>
              <a:buChar char="§"/>
            </a:pPr>
            <a:r>
              <a:rPr lang="en-US" sz="1600" dirty="0">
                <a:solidFill>
                  <a:srgbClr val="505150"/>
                </a:solidFill>
                <a:latin typeface="+mn-lt"/>
              </a:rPr>
              <a:t>Y= continuous dependent/target variable </a:t>
            </a:r>
          </a:p>
          <a:p>
            <a:pPr>
              <a:buClr>
                <a:schemeClr val="accent1"/>
              </a:buClr>
              <a:buSzPct val="100000"/>
              <a:buFont typeface="Wingdings" panose="05000000000000000000" pitchFamily="2" charset="2"/>
              <a:buChar char="§"/>
            </a:pPr>
            <a:r>
              <a:rPr lang="en-US" sz="1600" dirty="0">
                <a:solidFill>
                  <a:srgbClr val="505150"/>
                </a:solidFill>
                <a:latin typeface="+mn-lt"/>
              </a:rPr>
              <a:t>Ꝋ0= y-intercept</a:t>
            </a:r>
          </a:p>
          <a:p>
            <a:pPr>
              <a:buClr>
                <a:schemeClr val="accent1"/>
              </a:buClr>
              <a:buSzPct val="100000"/>
              <a:buFont typeface="Wingdings" panose="05000000000000000000" pitchFamily="2" charset="2"/>
              <a:buChar char="§"/>
            </a:pPr>
            <a:r>
              <a:rPr lang="en-US" sz="1600" dirty="0">
                <a:solidFill>
                  <a:srgbClr val="505150"/>
                </a:solidFill>
                <a:latin typeface="+mn-lt"/>
              </a:rPr>
              <a:t>x1 to xk represent the k independent variables (IV)</a:t>
            </a:r>
          </a:p>
          <a:p>
            <a:pPr>
              <a:buClr>
                <a:schemeClr val="accent1"/>
              </a:buClr>
              <a:buSzPct val="100000"/>
              <a:buFont typeface="Wingdings" panose="05000000000000000000" pitchFamily="2" charset="2"/>
              <a:buChar char="§"/>
            </a:pPr>
            <a:r>
              <a:rPr lang="en-US" sz="1600" dirty="0">
                <a:solidFill>
                  <a:srgbClr val="505150"/>
                </a:solidFill>
                <a:latin typeface="+mn-lt"/>
              </a:rPr>
              <a:t>Ꝋ1 to Ꝋk = coefficients indicating the degree of association between each IV and the DV</a:t>
            </a:r>
          </a:p>
        </p:txBody>
      </p:sp>
      <p:sp>
        <p:nvSpPr>
          <p:cNvPr id="57" name="Text Placeholder 10"/>
          <p:cNvSpPr txBox="1">
            <a:spLocks/>
          </p:cNvSpPr>
          <p:nvPr/>
        </p:nvSpPr>
        <p:spPr bwMode="auto">
          <a:xfrm>
            <a:off x="1855338" y="1069773"/>
            <a:ext cx="4107194" cy="638580"/>
          </a:xfrm>
          <a:prstGeom prst="rect">
            <a:avLst/>
          </a:prstGeom>
          <a:noFill/>
          <a:ln w="9525">
            <a:noFill/>
            <a:miter lim="800000"/>
            <a:headEnd/>
            <a:tailEnd/>
          </a:ln>
        </p:spPr>
        <p:txBody>
          <a:bodyPr vert="horz" wrap="square" lIns="91271" tIns="45635" rIns="91271" bIns="45635" numCol="1" anchor="t" anchorCtr="0" compatLnSpc="1">
            <a:prstTxWarp prst="textNoShape">
              <a:avLst/>
            </a:prstTxWarp>
          </a:bodyPr>
          <a:lstStyle>
            <a:lvl1pPr marL="131134" indent="-131134" algn="l" rtl="0" eaLnBrk="1" fontAlgn="base" hangingPunct="1">
              <a:lnSpc>
                <a:spcPct val="90000"/>
              </a:lnSpc>
              <a:spcBef>
                <a:spcPct val="0"/>
              </a:spcBef>
              <a:spcAft>
                <a:spcPts val="150"/>
              </a:spcAft>
              <a:buChar char="•"/>
              <a:defRPr sz="1202">
                <a:solidFill>
                  <a:srgbClr val="646464"/>
                </a:solidFill>
                <a:latin typeface="+mn-lt"/>
                <a:ea typeface="+mn-ea"/>
                <a:cs typeface="+mn-cs"/>
              </a:defRPr>
            </a:lvl1pPr>
            <a:lvl2pPr marL="318296" indent="-154976" algn="l" rtl="0" eaLnBrk="1" fontAlgn="base" hangingPunct="1">
              <a:lnSpc>
                <a:spcPct val="90000"/>
              </a:lnSpc>
              <a:spcBef>
                <a:spcPct val="0"/>
              </a:spcBef>
              <a:spcAft>
                <a:spcPts val="225"/>
              </a:spcAft>
              <a:buFont typeface="Arial" charset="0"/>
              <a:buChar char="–"/>
              <a:defRPr sz="1202">
                <a:solidFill>
                  <a:srgbClr val="646464"/>
                </a:solidFill>
                <a:latin typeface="+mn-lt"/>
              </a:defRPr>
            </a:lvl2pPr>
            <a:lvl3pPr marL="489961" indent="-146631" algn="l" rtl="0" eaLnBrk="1" fontAlgn="base" hangingPunct="1">
              <a:lnSpc>
                <a:spcPct val="90000"/>
              </a:lnSpc>
              <a:spcBef>
                <a:spcPct val="0"/>
              </a:spcBef>
              <a:spcAft>
                <a:spcPts val="225"/>
              </a:spcAft>
              <a:buFont typeface="Wingdings" pitchFamily="2" charset="2"/>
              <a:buChar char="§"/>
              <a:defRPr sz="1202">
                <a:solidFill>
                  <a:srgbClr val="646464"/>
                </a:solidFill>
                <a:latin typeface="+mn-lt"/>
              </a:defRPr>
            </a:lvl3pPr>
            <a:lvl4pPr marL="661626" indent="-146631" algn="l" rtl="0" eaLnBrk="1" fontAlgn="base" hangingPunct="1">
              <a:lnSpc>
                <a:spcPct val="90000"/>
              </a:lnSpc>
              <a:spcBef>
                <a:spcPct val="0"/>
              </a:spcBef>
              <a:spcAft>
                <a:spcPts val="225"/>
              </a:spcAft>
              <a:buFont typeface="Arial" charset="0"/>
              <a:buChar char="–"/>
              <a:defRPr sz="1202">
                <a:solidFill>
                  <a:srgbClr val="646464"/>
                </a:solidFill>
                <a:latin typeface="+mn-lt"/>
              </a:defRPr>
            </a:lvl4pPr>
            <a:lvl5pPr marL="817794" indent="-131134" algn="l" rtl="0" eaLnBrk="1" fontAlgn="base" hangingPunct="1">
              <a:lnSpc>
                <a:spcPct val="90000"/>
              </a:lnSpc>
              <a:spcBef>
                <a:spcPct val="0"/>
              </a:spcBef>
              <a:spcAft>
                <a:spcPts val="225"/>
              </a:spcAft>
              <a:buFont typeface="Arial"/>
              <a:buChar char="•"/>
              <a:defRPr sz="1202">
                <a:solidFill>
                  <a:srgbClr val="646464"/>
                </a:solidFill>
                <a:latin typeface="+mn-lt"/>
              </a:defRPr>
            </a:lvl5pPr>
            <a:lvl6pPr marL="1161124"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6pPr>
            <a:lvl7pPr marL="1504455"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7pPr>
            <a:lvl8pPr marL="1847784"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8pPr>
            <a:lvl9pPr marL="2191115"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9pPr>
          </a:lstStyle>
          <a:p>
            <a:pPr marL="0" indent="0" algn="ctr" defTabSz="912754">
              <a:buNone/>
            </a:pPr>
            <a:r>
              <a:rPr lang="en-US" sz="2800" b="1" kern="0" dirty="0">
                <a:solidFill>
                  <a:srgbClr val="FF5800"/>
                </a:solidFill>
              </a:rPr>
              <a:t>Linear Regression</a:t>
            </a:r>
          </a:p>
        </p:txBody>
      </p:sp>
      <p:sp>
        <p:nvSpPr>
          <p:cNvPr id="59" name="Text Placeholder 12"/>
          <p:cNvSpPr txBox="1">
            <a:spLocks/>
          </p:cNvSpPr>
          <p:nvPr/>
        </p:nvSpPr>
        <p:spPr bwMode="auto">
          <a:xfrm>
            <a:off x="6084924" y="1069773"/>
            <a:ext cx="4107194" cy="638580"/>
          </a:xfrm>
          <a:prstGeom prst="rect">
            <a:avLst/>
          </a:prstGeom>
          <a:noFill/>
          <a:ln>
            <a:miter lim="800000"/>
            <a:headEnd/>
            <a:tailEnd/>
          </a:ln>
        </p:spPr>
        <p:txBody>
          <a:bodyPr vert="horz" wrap="square" lIns="91271" tIns="45635" rIns="91271" bIns="45635" numCol="1" anchorCtr="0" compatLnSpc="1">
            <a:prstTxWarp prst="textNoShape">
              <a:avLst/>
            </a:prstTxWarp>
          </a:bodyPr>
          <a:lstStyle>
            <a:lvl1pPr marL="131134" indent="-131134" algn="l" rtl="0" eaLnBrk="1" fontAlgn="base" hangingPunct="1">
              <a:lnSpc>
                <a:spcPct val="90000"/>
              </a:lnSpc>
              <a:spcBef>
                <a:spcPct val="0"/>
              </a:spcBef>
              <a:spcAft>
                <a:spcPct val="30000"/>
              </a:spcAft>
              <a:buChar char="•"/>
              <a:defRPr sz="1202">
                <a:solidFill>
                  <a:schemeClr val="bg2">
                    <a:lumMod val="50000"/>
                  </a:schemeClr>
                </a:solidFill>
                <a:latin typeface="+mn-lt"/>
                <a:ea typeface="+mn-ea"/>
                <a:cs typeface="+mn-cs"/>
              </a:defRPr>
            </a:lvl1pPr>
            <a:lvl2pPr marL="318296" indent="-154976" algn="l" rtl="0" eaLnBrk="1" fontAlgn="base" hangingPunct="1">
              <a:lnSpc>
                <a:spcPct val="90000"/>
              </a:lnSpc>
              <a:spcBef>
                <a:spcPct val="0"/>
              </a:spcBef>
              <a:spcAft>
                <a:spcPct val="30000"/>
              </a:spcAft>
              <a:buFont typeface="Arial" charset="0"/>
              <a:buChar char="–"/>
              <a:defRPr sz="1202">
                <a:solidFill>
                  <a:schemeClr val="bg2">
                    <a:lumMod val="50000"/>
                  </a:schemeClr>
                </a:solidFill>
                <a:latin typeface="+mn-lt"/>
              </a:defRPr>
            </a:lvl2pPr>
            <a:lvl3pPr marL="489961" indent="-146631" algn="l" rtl="0" eaLnBrk="1" fontAlgn="base" hangingPunct="1">
              <a:lnSpc>
                <a:spcPct val="90000"/>
              </a:lnSpc>
              <a:spcBef>
                <a:spcPct val="0"/>
              </a:spcBef>
              <a:spcAft>
                <a:spcPct val="30000"/>
              </a:spcAft>
              <a:buFont typeface="Wingdings" pitchFamily="2" charset="2"/>
              <a:buChar char="§"/>
              <a:defRPr sz="1202">
                <a:solidFill>
                  <a:schemeClr val="bg2">
                    <a:lumMod val="50000"/>
                  </a:schemeClr>
                </a:solidFill>
                <a:latin typeface="+mn-lt"/>
              </a:defRPr>
            </a:lvl3pPr>
            <a:lvl4pPr marL="661626" indent="-146631" algn="l" rtl="0" eaLnBrk="1" fontAlgn="base" hangingPunct="1">
              <a:lnSpc>
                <a:spcPct val="90000"/>
              </a:lnSpc>
              <a:spcBef>
                <a:spcPct val="0"/>
              </a:spcBef>
              <a:spcAft>
                <a:spcPct val="30000"/>
              </a:spcAft>
              <a:buFont typeface="Arial" charset="0"/>
              <a:buChar char="–"/>
              <a:defRPr sz="1202">
                <a:solidFill>
                  <a:schemeClr val="bg2">
                    <a:lumMod val="50000"/>
                  </a:schemeClr>
                </a:solidFill>
                <a:latin typeface="+mn-lt"/>
              </a:defRPr>
            </a:lvl4pPr>
            <a:lvl5pPr marL="817794" indent="-131134" algn="l" rtl="0" eaLnBrk="1" fontAlgn="base" hangingPunct="1">
              <a:lnSpc>
                <a:spcPct val="90000"/>
              </a:lnSpc>
              <a:spcBef>
                <a:spcPct val="0"/>
              </a:spcBef>
              <a:spcAft>
                <a:spcPct val="30000"/>
              </a:spcAft>
              <a:buFont typeface="Arial"/>
              <a:buChar char="•"/>
              <a:defRPr sz="1202">
                <a:solidFill>
                  <a:schemeClr val="bg2">
                    <a:lumMod val="50000"/>
                  </a:schemeClr>
                </a:solidFill>
                <a:latin typeface="+mn-lt"/>
              </a:defRPr>
            </a:lvl5pPr>
            <a:lvl6pPr marL="1161124"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6pPr>
            <a:lvl7pPr marL="1504455"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7pPr>
            <a:lvl8pPr marL="1847784"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8pPr>
            <a:lvl9pPr marL="2191115" indent="-131134" algn="l" rtl="0" eaLnBrk="1" fontAlgn="base" hangingPunct="1">
              <a:lnSpc>
                <a:spcPct val="90000"/>
              </a:lnSpc>
              <a:spcBef>
                <a:spcPct val="20000"/>
              </a:spcBef>
              <a:spcAft>
                <a:spcPct val="0"/>
              </a:spcAft>
              <a:buFont typeface="Arial" charset="0"/>
              <a:buChar char="–"/>
              <a:defRPr sz="1202">
                <a:solidFill>
                  <a:schemeClr val="tx1"/>
                </a:solidFill>
                <a:latin typeface="+mn-lt"/>
              </a:defRPr>
            </a:lvl9pPr>
          </a:lstStyle>
          <a:p>
            <a:pPr marL="0" indent="0" algn="ctr" defTabSz="912754">
              <a:spcAft>
                <a:spcPts val="150"/>
              </a:spcAft>
              <a:buNone/>
            </a:pPr>
            <a:r>
              <a:rPr lang="en-US" sz="2800" b="1" kern="0" dirty="0">
                <a:solidFill>
                  <a:srgbClr val="FF5800"/>
                </a:solidFill>
              </a:rPr>
              <a:t>Logistic Regression</a:t>
            </a:r>
          </a:p>
        </p:txBody>
      </p:sp>
      <p:pic>
        <p:nvPicPr>
          <p:cNvPr id="63" name="Image 5" descr="Next Steps.png"/>
          <p:cNvPicPr>
            <a:picLocks noChangeAspect="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610338" y="1125060"/>
            <a:ext cx="563803" cy="503124"/>
          </a:xfrm>
          <a:prstGeom prst="rect">
            <a:avLst/>
          </a:prstGeom>
        </p:spPr>
      </p:pic>
      <p:cxnSp>
        <p:nvCxnSpPr>
          <p:cNvPr id="64" name="Straight Arrow Connector 63"/>
          <p:cNvCxnSpPr/>
          <p:nvPr/>
        </p:nvCxnSpPr>
        <p:spPr>
          <a:xfrm rot="5400000" flipH="1" flipV="1">
            <a:off x="1578670" y="5338035"/>
            <a:ext cx="934374" cy="15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2045857" y="5796061"/>
            <a:ext cx="1078123" cy="91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2045857" y="5086473"/>
            <a:ext cx="934374" cy="718749"/>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rot="5400000" flipH="1" flipV="1">
            <a:off x="6106789" y="5337243"/>
            <a:ext cx="934374" cy="15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6573976" y="5795269"/>
            <a:ext cx="1078123" cy="91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6573976" y="5031679"/>
            <a:ext cx="967776" cy="777584"/>
          </a:xfrm>
          <a:custGeom>
            <a:avLst/>
            <a:gdLst>
              <a:gd name="connsiteX0" fmla="*/ 0 w 1177047"/>
              <a:gd name="connsiteY0" fmla="*/ 779024 h 779024"/>
              <a:gd name="connsiteX1" fmla="*/ 573932 w 1177047"/>
              <a:gd name="connsiteY1" fmla="*/ 657428 h 779024"/>
              <a:gd name="connsiteX2" fmla="*/ 763621 w 1177047"/>
              <a:gd name="connsiteY2" fmla="*/ 107815 h 779024"/>
              <a:gd name="connsiteX3" fmla="*/ 1177047 w 1177047"/>
              <a:gd name="connsiteY3" fmla="*/ 10539 h 779024"/>
            </a:gdLst>
            <a:ahLst/>
            <a:cxnLst>
              <a:cxn ang="0">
                <a:pos x="connsiteX0" y="connsiteY0"/>
              </a:cxn>
              <a:cxn ang="0">
                <a:pos x="connsiteX1" y="connsiteY1"/>
              </a:cxn>
              <a:cxn ang="0">
                <a:pos x="connsiteX2" y="connsiteY2"/>
              </a:cxn>
              <a:cxn ang="0">
                <a:pos x="connsiteX3" y="connsiteY3"/>
              </a:cxn>
            </a:cxnLst>
            <a:rect l="l" t="t" r="r" b="b"/>
            <a:pathLst>
              <a:path w="1177047" h="779024">
                <a:moveTo>
                  <a:pt x="0" y="779024"/>
                </a:moveTo>
                <a:cubicBezTo>
                  <a:pt x="223331" y="774160"/>
                  <a:pt x="446662" y="769296"/>
                  <a:pt x="573932" y="657428"/>
                </a:cubicBezTo>
                <a:cubicBezTo>
                  <a:pt x="701202" y="545560"/>
                  <a:pt x="663102" y="215630"/>
                  <a:pt x="763621" y="107815"/>
                </a:cubicBezTo>
                <a:cubicBezTo>
                  <a:pt x="864140" y="0"/>
                  <a:pt x="1020593" y="5269"/>
                  <a:pt x="1177047" y="10539"/>
                </a:cubicBezTo>
              </a:path>
            </a:pathLst>
          </a:cu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2754"/>
            <a:endParaRPr lang="en-US" sz="1200" dirty="0">
              <a:solidFill>
                <a:srgbClr val="005CB9"/>
              </a:solidFill>
            </a:endParaRPr>
          </a:p>
        </p:txBody>
      </p:sp>
      <p:pic>
        <p:nvPicPr>
          <p:cNvPr id="70" name="Picture 2" descr="See full size image"/>
          <p:cNvPicPr>
            <a:picLocks noChangeAspect="1" noChangeArrowheads="1"/>
          </p:cNvPicPr>
          <p:nvPr/>
        </p:nvPicPr>
        <p:blipFill>
          <a:blip r:embed="rId4" cstate="print"/>
          <a:srcRect/>
          <a:stretch>
            <a:fillRect/>
          </a:stretch>
        </p:blipFill>
        <p:spPr bwMode="auto">
          <a:xfrm>
            <a:off x="3411480" y="5086473"/>
            <a:ext cx="810639" cy="544967"/>
          </a:xfrm>
          <a:prstGeom prst="rect">
            <a:avLst/>
          </a:prstGeom>
          <a:noFill/>
        </p:spPr>
      </p:pic>
      <p:pic>
        <p:nvPicPr>
          <p:cNvPr id="71" name="Picture 4" descr="See full size image"/>
          <p:cNvPicPr>
            <a:picLocks noChangeAspect="1" noChangeArrowheads="1"/>
          </p:cNvPicPr>
          <p:nvPr/>
        </p:nvPicPr>
        <p:blipFill>
          <a:blip r:embed="rId5" cstate="print"/>
          <a:srcRect/>
          <a:stretch>
            <a:fillRect/>
          </a:stretch>
        </p:blipFill>
        <p:spPr bwMode="auto">
          <a:xfrm>
            <a:off x="4345855" y="4942724"/>
            <a:ext cx="1264483" cy="760591"/>
          </a:xfrm>
          <a:prstGeom prst="rect">
            <a:avLst/>
          </a:prstGeom>
          <a:noFill/>
        </p:spPr>
      </p:pic>
      <p:grpSp>
        <p:nvGrpSpPr>
          <p:cNvPr id="72" name="Group 28"/>
          <p:cNvGrpSpPr/>
          <p:nvPr/>
        </p:nvGrpSpPr>
        <p:grpSpPr>
          <a:xfrm>
            <a:off x="8011474" y="5014599"/>
            <a:ext cx="287500" cy="431249"/>
            <a:chOff x="6732240" y="4797152"/>
            <a:chExt cx="360040" cy="792088"/>
          </a:xfrm>
        </p:grpSpPr>
        <p:sp>
          <p:nvSpPr>
            <p:cNvPr id="73" name="Rectangle 72"/>
            <p:cNvSpPr/>
            <p:nvPr/>
          </p:nvSpPr>
          <p:spPr>
            <a:xfrm>
              <a:off x="6732240" y="4797152"/>
              <a:ext cx="360040" cy="79208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200" dirty="0">
                <a:solidFill>
                  <a:srgbClr val="FFFFFF"/>
                </a:solidFill>
              </a:endParaRPr>
            </a:p>
          </p:txBody>
        </p:sp>
        <p:sp>
          <p:nvSpPr>
            <p:cNvPr id="74" name="Oval 73"/>
            <p:cNvSpPr/>
            <p:nvPr/>
          </p:nvSpPr>
          <p:spPr>
            <a:xfrm>
              <a:off x="6804248" y="4869160"/>
              <a:ext cx="216024" cy="2880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200" dirty="0">
                <a:solidFill>
                  <a:srgbClr val="FFFFFF"/>
                </a:solidFill>
              </a:endParaRPr>
            </a:p>
          </p:txBody>
        </p:sp>
        <p:sp>
          <p:nvSpPr>
            <p:cNvPr id="75" name="Oval 74"/>
            <p:cNvSpPr/>
            <p:nvPr/>
          </p:nvSpPr>
          <p:spPr>
            <a:xfrm>
              <a:off x="6804248" y="5229200"/>
              <a:ext cx="216024" cy="2880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200" dirty="0">
                <a:solidFill>
                  <a:srgbClr val="FFFFFF"/>
                </a:solidFill>
              </a:endParaRPr>
            </a:p>
          </p:txBody>
        </p:sp>
      </p:grpSp>
      <p:sp>
        <p:nvSpPr>
          <p:cNvPr id="76" name="TextBox 75"/>
          <p:cNvSpPr txBox="1"/>
          <p:nvPr/>
        </p:nvSpPr>
        <p:spPr>
          <a:xfrm>
            <a:off x="7939599" y="5661473"/>
            <a:ext cx="506870" cy="461024"/>
          </a:xfrm>
          <a:prstGeom prst="rect">
            <a:avLst/>
          </a:prstGeom>
          <a:noFill/>
        </p:spPr>
        <p:txBody>
          <a:bodyPr wrap="none" rtlCol="0">
            <a:spAutoFit/>
          </a:bodyPr>
          <a:lstStyle/>
          <a:p>
            <a:pPr defTabSz="912754"/>
            <a:r>
              <a:rPr lang="en-US" sz="1200" dirty="0">
                <a:solidFill>
                  <a:srgbClr val="505150"/>
                </a:solidFill>
              </a:rPr>
              <a:t>Flag </a:t>
            </a:r>
          </a:p>
          <a:p>
            <a:pPr defTabSz="912754"/>
            <a:r>
              <a:rPr lang="en-US" sz="1200" dirty="0">
                <a:solidFill>
                  <a:srgbClr val="505150"/>
                </a:solidFill>
              </a:rPr>
              <a:t> </a:t>
            </a:r>
          </a:p>
        </p:txBody>
      </p:sp>
      <p:pic>
        <p:nvPicPr>
          <p:cNvPr id="77" name="Picture 6" descr="See full size image"/>
          <p:cNvPicPr>
            <a:picLocks noChangeAspect="1" noChangeArrowheads="1"/>
          </p:cNvPicPr>
          <p:nvPr/>
        </p:nvPicPr>
        <p:blipFill>
          <a:blip r:embed="rId6" cstate="print"/>
          <a:srcRect/>
          <a:stretch>
            <a:fillRect/>
          </a:stretch>
        </p:blipFill>
        <p:spPr bwMode="auto">
          <a:xfrm>
            <a:off x="8730223" y="4916854"/>
            <a:ext cx="1081565" cy="600869"/>
          </a:xfrm>
          <a:prstGeom prst="rect">
            <a:avLst/>
          </a:prstGeom>
          <a:noFill/>
        </p:spPr>
      </p:pic>
      <p:sp>
        <p:nvSpPr>
          <p:cNvPr id="78" name="TextBox 77"/>
          <p:cNvSpPr txBox="1"/>
          <p:nvPr/>
        </p:nvSpPr>
        <p:spPr>
          <a:xfrm>
            <a:off x="8730223" y="5672486"/>
            <a:ext cx="1513556" cy="276679"/>
          </a:xfrm>
          <a:prstGeom prst="rect">
            <a:avLst/>
          </a:prstGeom>
          <a:noFill/>
        </p:spPr>
        <p:txBody>
          <a:bodyPr wrap="none" rtlCol="0">
            <a:spAutoFit/>
          </a:bodyPr>
          <a:lstStyle/>
          <a:p>
            <a:pPr defTabSz="912754"/>
            <a:r>
              <a:rPr lang="en-US" sz="1200" dirty="0">
                <a:solidFill>
                  <a:srgbClr val="505150"/>
                </a:solidFill>
              </a:rPr>
              <a:t>Categorical variable</a:t>
            </a:r>
          </a:p>
        </p:txBody>
      </p:sp>
      <p:sp>
        <p:nvSpPr>
          <p:cNvPr id="79" name="TextBox 78"/>
          <p:cNvSpPr txBox="1"/>
          <p:nvPr/>
        </p:nvSpPr>
        <p:spPr>
          <a:xfrm>
            <a:off x="4345854" y="5733348"/>
            <a:ext cx="1653123" cy="460812"/>
          </a:xfrm>
          <a:prstGeom prst="rect">
            <a:avLst/>
          </a:prstGeom>
          <a:noFill/>
        </p:spPr>
        <p:txBody>
          <a:bodyPr wrap="square" rtlCol="0">
            <a:spAutoFit/>
          </a:bodyPr>
          <a:lstStyle/>
          <a:p>
            <a:pPr defTabSz="912754"/>
            <a:r>
              <a:rPr lang="en-US" sz="1200" dirty="0">
                <a:solidFill>
                  <a:srgbClr val="505150"/>
                </a:solidFill>
              </a:rPr>
              <a:t>(No count data = Poisson regression) </a:t>
            </a:r>
          </a:p>
        </p:txBody>
      </p:sp>
      <p:sp>
        <p:nvSpPr>
          <p:cNvPr id="80" name="TextBox 79"/>
          <p:cNvSpPr txBox="1"/>
          <p:nvPr/>
        </p:nvSpPr>
        <p:spPr>
          <a:xfrm>
            <a:off x="8138521" y="6009580"/>
            <a:ext cx="2212465" cy="461024"/>
          </a:xfrm>
          <a:prstGeom prst="rect">
            <a:avLst/>
          </a:prstGeom>
          <a:noFill/>
        </p:spPr>
        <p:txBody>
          <a:bodyPr wrap="none" rtlCol="0">
            <a:spAutoFit/>
          </a:bodyPr>
          <a:lstStyle/>
          <a:p>
            <a:pPr defTabSz="912754"/>
            <a:r>
              <a:rPr lang="en-US" sz="1200" dirty="0">
                <a:solidFill>
                  <a:srgbClr val="505150"/>
                </a:solidFill>
              </a:rPr>
              <a:t>(Binominal logistic regression)</a:t>
            </a:r>
          </a:p>
          <a:p>
            <a:pPr defTabSz="912754"/>
            <a:r>
              <a:rPr lang="en-US" sz="1200" dirty="0">
                <a:solidFill>
                  <a:srgbClr val="505150"/>
                </a:solidFill>
              </a:rPr>
              <a:t> </a:t>
            </a:r>
          </a:p>
        </p:txBody>
      </p:sp>
      <p:sp>
        <p:nvSpPr>
          <p:cNvPr id="81" name="object 5"/>
          <p:cNvSpPr txBox="1"/>
          <p:nvPr/>
        </p:nvSpPr>
        <p:spPr>
          <a:xfrm>
            <a:off x="1826965" y="1646699"/>
            <a:ext cx="4715667" cy="184666"/>
          </a:xfrm>
          <a:prstGeom prst="rect">
            <a:avLst/>
          </a:prstGeom>
        </p:spPr>
        <p:txBody>
          <a:bodyPr vert="horz" wrap="square" lIns="0" tIns="0" rIns="0" bIns="0" rtlCol="0">
            <a:spAutoFit/>
          </a:bodyPr>
          <a:lstStyle/>
          <a:p>
            <a:pPr marL="9337" defTabSz="912754"/>
            <a:r>
              <a:rPr lang="nl-NL" sz="1200" spc="-7" dirty="0">
                <a:solidFill>
                  <a:prstClr val="black"/>
                </a:solidFill>
                <a:cs typeface="Segoe UI Light"/>
              </a:rPr>
              <a:t>y</a:t>
            </a:r>
            <a:r>
              <a:rPr sz="1200" spc="-7" dirty="0">
                <a:solidFill>
                  <a:prstClr val="black"/>
                </a:solidFill>
                <a:cs typeface="Segoe UI Light"/>
              </a:rPr>
              <a:t> </a:t>
            </a:r>
            <a:r>
              <a:rPr sz="1200" dirty="0">
                <a:solidFill>
                  <a:prstClr val="black"/>
                </a:solidFill>
                <a:cs typeface="Segoe UI Light"/>
              </a:rPr>
              <a:t>= </a:t>
            </a:r>
            <a:r>
              <a:rPr sz="1200" spc="-4" dirty="0">
                <a:solidFill>
                  <a:prstClr val="black"/>
                </a:solidFill>
                <a:cs typeface="Segoe UI Light"/>
              </a:rPr>
              <a:t>θ</a:t>
            </a:r>
            <a:r>
              <a:rPr sz="1200" spc="-5" baseline="-20833" dirty="0">
                <a:solidFill>
                  <a:prstClr val="black"/>
                </a:solidFill>
                <a:cs typeface="Segoe UI Light"/>
              </a:rPr>
              <a:t>0</a:t>
            </a:r>
            <a:r>
              <a:rPr sz="1200" spc="-4" dirty="0">
                <a:solidFill>
                  <a:prstClr val="black"/>
                </a:solidFill>
                <a:cs typeface="Segoe UI Light"/>
              </a:rPr>
              <a:t>x</a:t>
            </a:r>
            <a:r>
              <a:rPr sz="1200" spc="-5" baseline="-20833" dirty="0">
                <a:solidFill>
                  <a:prstClr val="black"/>
                </a:solidFill>
                <a:cs typeface="Segoe UI Light"/>
              </a:rPr>
              <a:t>0 </a:t>
            </a:r>
            <a:r>
              <a:rPr sz="1200" dirty="0">
                <a:solidFill>
                  <a:prstClr val="black"/>
                </a:solidFill>
                <a:cs typeface="Segoe UI Light"/>
              </a:rPr>
              <a:t>+ </a:t>
            </a:r>
            <a:r>
              <a:rPr sz="1200" spc="92" dirty="0">
                <a:solidFill>
                  <a:prstClr val="black"/>
                </a:solidFill>
                <a:cs typeface="Segoe UI Light"/>
              </a:rPr>
              <a:t>θ</a:t>
            </a:r>
            <a:r>
              <a:rPr sz="1200" spc="138" baseline="-20833" dirty="0">
                <a:solidFill>
                  <a:prstClr val="black"/>
                </a:solidFill>
                <a:cs typeface="Segoe UI Light"/>
              </a:rPr>
              <a:t>1 </a:t>
            </a:r>
            <a:r>
              <a:rPr sz="1200" spc="88" dirty="0">
                <a:solidFill>
                  <a:prstClr val="black"/>
                </a:solidFill>
                <a:cs typeface="Segoe UI Light"/>
              </a:rPr>
              <a:t>x</a:t>
            </a:r>
            <a:r>
              <a:rPr sz="1200" spc="132" baseline="-20833" dirty="0">
                <a:solidFill>
                  <a:prstClr val="black"/>
                </a:solidFill>
                <a:cs typeface="Segoe UI Light"/>
              </a:rPr>
              <a:t>1 </a:t>
            </a:r>
            <a:r>
              <a:rPr sz="1200" dirty="0">
                <a:solidFill>
                  <a:prstClr val="black"/>
                </a:solidFill>
                <a:cs typeface="Segoe UI Light"/>
              </a:rPr>
              <a:t>+ </a:t>
            </a:r>
            <a:r>
              <a:rPr sz="1200" spc="-4" dirty="0">
                <a:solidFill>
                  <a:prstClr val="black"/>
                </a:solidFill>
                <a:cs typeface="Segoe UI Light"/>
              </a:rPr>
              <a:t>θ</a:t>
            </a:r>
            <a:r>
              <a:rPr sz="1200" spc="-5" baseline="-20833" dirty="0">
                <a:solidFill>
                  <a:prstClr val="black"/>
                </a:solidFill>
                <a:cs typeface="Segoe UI Light"/>
              </a:rPr>
              <a:t>2 </a:t>
            </a:r>
            <a:r>
              <a:rPr sz="1200" spc="-4" dirty="0">
                <a:solidFill>
                  <a:prstClr val="black"/>
                </a:solidFill>
                <a:cs typeface="Segoe UI Light"/>
              </a:rPr>
              <a:t>x</a:t>
            </a:r>
            <a:r>
              <a:rPr sz="1200" spc="-5" baseline="-20833" dirty="0">
                <a:solidFill>
                  <a:prstClr val="black"/>
                </a:solidFill>
                <a:cs typeface="Segoe UI Light"/>
              </a:rPr>
              <a:t>2 </a:t>
            </a:r>
            <a:r>
              <a:rPr sz="1200" dirty="0">
                <a:solidFill>
                  <a:prstClr val="black"/>
                </a:solidFill>
                <a:cs typeface="Segoe UI Light"/>
              </a:rPr>
              <a:t>+ </a:t>
            </a:r>
            <a:r>
              <a:rPr sz="1200" spc="-4" dirty="0">
                <a:solidFill>
                  <a:prstClr val="black"/>
                </a:solidFill>
                <a:cs typeface="Segoe UI Light"/>
              </a:rPr>
              <a:t>θ</a:t>
            </a:r>
            <a:r>
              <a:rPr sz="1200" spc="-5" baseline="-20833" dirty="0">
                <a:solidFill>
                  <a:prstClr val="black"/>
                </a:solidFill>
                <a:cs typeface="Segoe UI Light"/>
              </a:rPr>
              <a:t>3 </a:t>
            </a:r>
            <a:r>
              <a:rPr sz="1200" spc="-4" dirty="0">
                <a:solidFill>
                  <a:prstClr val="black"/>
                </a:solidFill>
                <a:cs typeface="Segoe UI Light"/>
              </a:rPr>
              <a:t>x</a:t>
            </a:r>
            <a:r>
              <a:rPr sz="1200" spc="-5" baseline="-20833" dirty="0">
                <a:solidFill>
                  <a:prstClr val="black"/>
                </a:solidFill>
                <a:cs typeface="Segoe UI Light"/>
              </a:rPr>
              <a:t>3</a:t>
            </a:r>
            <a:r>
              <a:rPr sz="1200" spc="-4" dirty="0">
                <a:solidFill>
                  <a:prstClr val="black"/>
                </a:solidFill>
                <a:cs typeface="Segoe UI Light"/>
              </a:rPr>
              <a:t>+</a:t>
            </a:r>
            <a:r>
              <a:rPr sz="1200" spc="-261" dirty="0">
                <a:solidFill>
                  <a:prstClr val="black"/>
                </a:solidFill>
                <a:cs typeface="Segoe UI Light"/>
              </a:rPr>
              <a:t> </a:t>
            </a:r>
            <a:r>
              <a:rPr sz="1200" spc="-11" dirty="0">
                <a:solidFill>
                  <a:prstClr val="black"/>
                </a:solidFill>
                <a:cs typeface="Segoe UI Light"/>
              </a:rPr>
              <a:t>θ</a:t>
            </a:r>
            <a:r>
              <a:rPr sz="1200" spc="-16" baseline="-20833" dirty="0">
                <a:solidFill>
                  <a:prstClr val="black"/>
                </a:solidFill>
                <a:cs typeface="Segoe UI Light"/>
              </a:rPr>
              <a:t>4 </a:t>
            </a:r>
            <a:r>
              <a:rPr sz="1200" spc="-15" dirty="0">
                <a:solidFill>
                  <a:prstClr val="black"/>
                </a:solidFill>
                <a:cs typeface="Segoe UI Light"/>
              </a:rPr>
              <a:t>x</a:t>
            </a:r>
            <a:r>
              <a:rPr sz="1200" spc="-22" baseline="-20833" dirty="0">
                <a:solidFill>
                  <a:prstClr val="black"/>
                </a:solidFill>
                <a:cs typeface="Segoe UI Light"/>
              </a:rPr>
              <a:t>4</a:t>
            </a:r>
            <a:endParaRPr lang="en-US" sz="1200" baseline="-20833" dirty="0">
              <a:solidFill>
                <a:prstClr val="black"/>
              </a:solidFill>
              <a:cs typeface="Segoe UI Light"/>
            </a:endParaRPr>
          </a:p>
        </p:txBody>
      </p:sp>
      <p:sp>
        <p:nvSpPr>
          <p:cNvPr id="2" name="Rectangle 1"/>
          <p:cNvSpPr/>
          <p:nvPr/>
        </p:nvSpPr>
        <p:spPr>
          <a:xfrm>
            <a:off x="6456054" y="1603910"/>
            <a:ext cx="3969226" cy="461665"/>
          </a:xfrm>
          <a:prstGeom prst="rect">
            <a:avLst/>
          </a:prstGeom>
        </p:spPr>
        <p:txBody>
          <a:bodyPr wrap="square">
            <a:spAutoFit/>
          </a:bodyPr>
          <a:lstStyle/>
          <a:p>
            <a:pPr marL="12677" defTabSz="912754">
              <a:tabLst>
                <a:tab pos="377145" algn="l"/>
                <a:tab pos="1025581" algn="l"/>
              </a:tabLst>
            </a:pPr>
            <a:r>
              <a:rPr lang="en-US" sz="1200" spc="-5" dirty="0">
                <a:solidFill>
                  <a:srgbClr val="000000"/>
                </a:solidFill>
              </a:rPr>
              <a:t>h</a:t>
            </a:r>
            <a:r>
              <a:rPr lang="en-US" sz="1200" spc="5" dirty="0">
                <a:solidFill>
                  <a:srgbClr val="000000"/>
                </a:solidFill>
              </a:rPr>
              <a:t>(</a:t>
            </a:r>
            <a:r>
              <a:rPr lang="en-US" sz="1200" dirty="0">
                <a:solidFill>
                  <a:srgbClr val="000000"/>
                </a:solidFill>
              </a:rPr>
              <a:t>x)</a:t>
            </a:r>
            <a:r>
              <a:rPr lang="en-US" sz="1200" spc="-30" dirty="0">
                <a:solidFill>
                  <a:srgbClr val="000000"/>
                </a:solidFill>
              </a:rPr>
              <a:t> </a:t>
            </a:r>
            <a:r>
              <a:rPr lang="en-US" sz="1200" dirty="0">
                <a:solidFill>
                  <a:srgbClr val="000000"/>
                </a:solidFill>
              </a:rPr>
              <a:t>= </a:t>
            </a:r>
            <a:r>
              <a:rPr lang="en-US" sz="1200" spc="-5" dirty="0">
                <a:solidFill>
                  <a:srgbClr val="000000"/>
                </a:solidFill>
              </a:rPr>
              <a:t> g </a:t>
            </a:r>
            <a:r>
              <a:rPr lang="en-US" sz="1200" spc="20" dirty="0">
                <a:solidFill>
                  <a:srgbClr val="000000"/>
                </a:solidFill>
              </a:rPr>
              <a:t>(</a:t>
            </a:r>
            <a:r>
              <a:rPr lang="el-GR" sz="1200" spc="-5" dirty="0">
                <a:solidFill>
                  <a:srgbClr val="000000"/>
                </a:solidFill>
              </a:rPr>
              <a:t>θ</a:t>
            </a:r>
            <a:r>
              <a:rPr lang="el-GR" sz="1200" spc="-7" baseline="-20833" dirty="0">
                <a:solidFill>
                  <a:srgbClr val="000000"/>
                </a:solidFill>
              </a:rPr>
              <a:t>0</a:t>
            </a:r>
            <a:r>
              <a:rPr lang="el-GR" sz="1200" dirty="0">
                <a:solidFill>
                  <a:srgbClr val="000000"/>
                </a:solidFill>
                <a:cs typeface="Segoe UI Light"/>
              </a:rPr>
              <a:t>+</a:t>
            </a:r>
            <a:r>
              <a:rPr lang="en-US" sz="1200" dirty="0">
                <a:solidFill>
                  <a:srgbClr val="000000"/>
                </a:solidFill>
                <a:cs typeface="Segoe UI Light"/>
              </a:rPr>
              <a:t> </a:t>
            </a:r>
            <a:r>
              <a:rPr lang="el-GR" sz="1200" spc="125" dirty="0">
                <a:solidFill>
                  <a:srgbClr val="000000"/>
                </a:solidFill>
                <a:cs typeface="Segoe UI Light"/>
              </a:rPr>
              <a:t>θ</a:t>
            </a:r>
            <a:r>
              <a:rPr lang="el-GR" sz="1200" spc="187" baseline="-20833" dirty="0">
                <a:solidFill>
                  <a:srgbClr val="000000"/>
                </a:solidFill>
                <a:cs typeface="Segoe UI Light"/>
              </a:rPr>
              <a:t>1</a:t>
            </a:r>
            <a:r>
              <a:rPr lang="en-US" sz="1200" spc="125" dirty="0">
                <a:solidFill>
                  <a:srgbClr val="000000"/>
                </a:solidFill>
                <a:cs typeface="Segoe UI Light"/>
              </a:rPr>
              <a:t>x</a:t>
            </a:r>
            <a:r>
              <a:rPr lang="en-US" sz="1200" spc="187" baseline="-20833" dirty="0">
                <a:solidFill>
                  <a:srgbClr val="000000"/>
                </a:solidFill>
                <a:cs typeface="Segoe UI Light"/>
              </a:rPr>
              <a:t>1</a:t>
            </a:r>
            <a:r>
              <a:rPr lang="en-US" sz="1200" dirty="0">
                <a:solidFill>
                  <a:srgbClr val="000000"/>
                </a:solidFill>
                <a:cs typeface="Segoe UI Light"/>
              </a:rPr>
              <a:t>+ </a:t>
            </a:r>
            <a:r>
              <a:rPr lang="el-GR" sz="1200" spc="-5" dirty="0">
                <a:solidFill>
                  <a:srgbClr val="000000"/>
                </a:solidFill>
                <a:cs typeface="Segoe UI Light"/>
              </a:rPr>
              <a:t>θ</a:t>
            </a:r>
            <a:r>
              <a:rPr lang="el-GR" sz="1200" spc="-7" baseline="-20833" dirty="0">
                <a:solidFill>
                  <a:srgbClr val="000000"/>
                </a:solidFill>
                <a:cs typeface="Segoe UI Light"/>
              </a:rPr>
              <a:t>2</a:t>
            </a:r>
            <a:r>
              <a:rPr lang="en-US" sz="1200" spc="-5" dirty="0">
                <a:solidFill>
                  <a:srgbClr val="000000"/>
                </a:solidFill>
                <a:cs typeface="Segoe UI Light"/>
              </a:rPr>
              <a:t>x</a:t>
            </a:r>
            <a:r>
              <a:rPr lang="en-US" sz="1200" spc="-7" baseline="-20833" dirty="0">
                <a:solidFill>
                  <a:srgbClr val="000000"/>
                </a:solidFill>
                <a:cs typeface="Segoe UI Light"/>
              </a:rPr>
              <a:t>2</a:t>
            </a:r>
            <a:r>
              <a:rPr lang="en-US" sz="1200" dirty="0">
                <a:solidFill>
                  <a:srgbClr val="000000"/>
                </a:solidFill>
                <a:cs typeface="Segoe UI Light"/>
              </a:rPr>
              <a:t>) where </a:t>
            </a:r>
          </a:p>
          <a:p>
            <a:pPr marL="12677" defTabSz="912754">
              <a:tabLst>
                <a:tab pos="377145" algn="l"/>
                <a:tab pos="1025581" algn="l"/>
              </a:tabLst>
            </a:pPr>
            <a:endParaRPr lang="en-US" sz="1200" dirty="0">
              <a:solidFill>
                <a:srgbClr val="000000"/>
              </a:solidFill>
              <a:cs typeface="Segoe UI Light"/>
            </a:endParaRPr>
          </a:p>
        </p:txBody>
      </p:sp>
      <p:sp>
        <p:nvSpPr>
          <p:cNvPr id="83" name="object 13"/>
          <p:cNvSpPr/>
          <p:nvPr/>
        </p:nvSpPr>
        <p:spPr>
          <a:xfrm>
            <a:off x="9009783" y="1521009"/>
            <a:ext cx="1415497" cy="529452"/>
          </a:xfrm>
          <a:prstGeom prst="rect">
            <a:avLst/>
          </a:prstGeom>
          <a:blipFill>
            <a:blip r:embed="rId7" cstate="print"/>
            <a:stretch>
              <a:fillRect/>
            </a:stretch>
          </a:blipFill>
        </p:spPr>
        <p:txBody>
          <a:bodyPr wrap="square" lIns="0" tIns="0" rIns="0" bIns="0" rtlCol="0"/>
          <a:lstStyle/>
          <a:p>
            <a:pPr defTabSz="912754"/>
            <a:endParaRPr sz="1200">
              <a:solidFill>
                <a:sysClr val="windowText" lastClr="000000"/>
              </a:solidFill>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42</a:t>
            </a:fld>
            <a:endParaRPr lang="en-US"/>
          </a:p>
        </p:txBody>
      </p:sp>
    </p:spTree>
    <p:extLst>
      <p:ext uri="{BB962C8B-B14F-4D97-AF65-F5344CB8AC3E}">
        <p14:creationId xmlns:p14="http://schemas.microsoft.com/office/powerpoint/2010/main" val="20900253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a:latin typeface="Segoe UI Light" panose="020B0502040204020203" pitchFamily="34" charset="0"/>
                <a:cs typeface="Segoe UI Light" panose="020B0502040204020203" pitchFamily="34" charset="0"/>
              </a:rPr>
              <a:t>Which Modelling Method would you use? (1/2)</a:t>
            </a:r>
            <a:endParaRPr lang="en-US" dirty="0">
              <a:latin typeface="Segoe UI Light" panose="020B0502040204020203" pitchFamily="34" charset="0"/>
              <a:cs typeface="Segoe UI Light" panose="020B0502040204020203" pitchFamily="34" charset="0"/>
            </a:endParaRPr>
          </a:p>
        </p:txBody>
      </p:sp>
      <p:sp>
        <p:nvSpPr>
          <p:cNvPr id="33" name="Round Same Side Corner Rectangle 32"/>
          <p:cNvSpPr/>
          <p:nvPr/>
        </p:nvSpPr>
        <p:spPr bwMode="auto">
          <a:xfrm>
            <a:off x="1252140" y="1071391"/>
            <a:ext cx="4521338" cy="390047"/>
          </a:xfrm>
          <a:prstGeom prst="round2SameRect">
            <a:avLst/>
          </a:prstGeom>
          <a:solidFill>
            <a:schemeClr val="accent1"/>
          </a:solidFill>
          <a:ln w="9525" cap="flat" cmpd="sng" algn="ctr">
            <a:solidFill>
              <a:sysClr val="window" lastClr="FFFFFF">
                <a:lumMod val="95000"/>
              </a:sysClr>
            </a:solidFill>
            <a:prstDash val="solid"/>
            <a:round/>
            <a:headEnd type="none" w="med" len="med"/>
            <a:tailEnd type="none" w="med" len="med"/>
          </a:ln>
          <a:effectLst>
            <a:outerShdw blurRad="50800" dist="38099" dir="2700015" rotWithShape="0">
              <a:scrgbClr r="0" g="0" b="0">
                <a:alpha val="40000"/>
              </a:scrgbClr>
            </a:outerShdw>
          </a:effectLst>
        </p:spPr>
        <p:txBody>
          <a:bodyPr tIns="91271" bIns="91271" anchor="ctr"/>
          <a:lstStyle/>
          <a:p>
            <a:pPr marL="188573" indent="-188573" algn="ctr" defTabSz="456377" eaLnBrk="0" fontAlgn="base" hangingPunct="0">
              <a:lnSpc>
                <a:spcPct val="85000"/>
              </a:lnSpc>
              <a:spcBef>
                <a:spcPct val="0"/>
              </a:spcBef>
              <a:spcAft>
                <a:spcPct val="0"/>
              </a:spcAft>
              <a:buClr>
                <a:srgbClr val="C0504D"/>
              </a:buClr>
              <a:buSzPct val="120000"/>
              <a:defRPr/>
            </a:pPr>
            <a:r>
              <a:rPr lang="en-US" altLang="ja-JP" sz="1597" b="1" kern="0" dirty="0">
                <a:solidFill>
                  <a:prstClr val="white"/>
                </a:solidFill>
                <a:ea typeface="ＭＳ Ｐゴシック" pitchFamily="34" charset="-128"/>
                <a:cs typeface="Arial" charset="0"/>
              </a:rPr>
              <a:t>Case 1: Lead Generation Efficiency </a:t>
            </a:r>
          </a:p>
        </p:txBody>
      </p:sp>
      <p:sp>
        <p:nvSpPr>
          <p:cNvPr id="34" name="Rectangle 13"/>
          <p:cNvSpPr>
            <a:spLocks noChangeArrowheads="1"/>
          </p:cNvSpPr>
          <p:nvPr/>
        </p:nvSpPr>
        <p:spPr bwMode="gray">
          <a:xfrm>
            <a:off x="1252139" y="1461438"/>
            <a:ext cx="4521339" cy="4364329"/>
          </a:xfrm>
          <a:prstGeom prst="rect">
            <a:avLst/>
          </a:prstGeom>
          <a:solidFill>
            <a:sysClr val="window" lastClr="FFFFFF"/>
          </a:solidFill>
          <a:ln w="6350" algn="ctr">
            <a:solidFill>
              <a:sysClr val="window" lastClr="FFFFFF">
                <a:lumMod val="95000"/>
              </a:sysClr>
            </a:solidFill>
            <a:miter lim="800000"/>
            <a:headEnd/>
            <a:tailEnd/>
          </a:ln>
          <a:effectLst>
            <a:outerShdw blurRad="50800" dist="38100" dir="2700000" algn="tl" rotWithShape="0">
              <a:prstClr val="black">
                <a:alpha val="40000"/>
              </a:prstClr>
            </a:outerShdw>
          </a:effectLst>
        </p:spPr>
        <p:txBody>
          <a:bodyPr wrap="square" tIns="46713" bIns="46713" anchor="t">
            <a:noAutofit/>
          </a:bodyPr>
          <a:lstStyle/>
          <a:p>
            <a:pPr marL="285236" lvl="1" indent="-285236" defTabSz="456377" eaLnBrk="0" fontAlgn="base" hangingPunct="0">
              <a:spcAft>
                <a:spcPts val="200"/>
              </a:spcAft>
              <a:buClr>
                <a:srgbClr val="FF5800"/>
              </a:buClr>
              <a:buSzPct val="110000"/>
              <a:buFont typeface="Wingdings" panose="05000000000000000000" pitchFamily="2" charset="2"/>
              <a:buChar char="§"/>
              <a:defRPr/>
            </a:pPr>
            <a:r>
              <a:rPr lang="en-US" sz="1400" kern="0" dirty="0">
                <a:solidFill>
                  <a:srgbClr val="505150"/>
                </a:solidFill>
                <a:ea typeface="ＭＳ Ｐゴシック" charset="-128"/>
                <a:cs typeface="Arial"/>
              </a:rPr>
              <a:t>A premium automotive brand wants to understand the </a:t>
            </a:r>
            <a:r>
              <a:rPr lang="en-US" sz="1400" b="1" kern="0" dirty="0">
                <a:solidFill>
                  <a:srgbClr val="505150"/>
                </a:solidFill>
                <a:ea typeface="ＭＳ Ｐゴシック" charset="-128"/>
                <a:cs typeface="Arial"/>
              </a:rPr>
              <a:t>lead generation efficiency of its website car configurator </a:t>
            </a:r>
          </a:p>
          <a:p>
            <a:pPr marL="285236" lvl="1" indent="-285236" defTabSz="456377" eaLnBrk="0" fontAlgn="base" hangingPunct="0">
              <a:spcAft>
                <a:spcPts val="200"/>
              </a:spcAft>
              <a:buClr>
                <a:srgbClr val="FF5800"/>
              </a:buClr>
              <a:buSzPct val="110000"/>
              <a:buFont typeface="Wingdings" panose="05000000000000000000" pitchFamily="2" charset="2"/>
              <a:buChar char="§"/>
              <a:defRPr/>
            </a:pPr>
            <a:r>
              <a:rPr lang="en-US" sz="1400" kern="0" dirty="0">
                <a:solidFill>
                  <a:srgbClr val="505150"/>
                </a:solidFill>
                <a:ea typeface="ＭＳ Ｐゴシック" charset="-128"/>
                <a:cs typeface="Arial"/>
              </a:rPr>
              <a:t>They </a:t>
            </a:r>
            <a:r>
              <a:rPr lang="en-US" sz="1400" b="1" kern="0" dirty="0">
                <a:solidFill>
                  <a:srgbClr val="505150"/>
                </a:solidFill>
                <a:ea typeface="ＭＳ Ｐゴシック" charset="-128"/>
                <a:cs typeface="Arial"/>
              </a:rPr>
              <a:t>investigate visitor behavior on their website</a:t>
            </a:r>
            <a:r>
              <a:rPr lang="en-US" sz="1400" kern="0" dirty="0">
                <a:solidFill>
                  <a:srgbClr val="505150"/>
                </a:solidFill>
                <a:ea typeface="ＭＳ Ｐゴシック" charset="-128"/>
                <a:cs typeface="Arial"/>
              </a:rPr>
              <a:t> with typical traffic metrics such as</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1: Number of unique visitors per day</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2: Time spent on the website per day</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3: Number of started car configurations per day</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4: Number of finished car configurations per day</a:t>
            </a:r>
          </a:p>
          <a:p>
            <a:pPr marL="285236" lvl="1" indent="-285236" defTabSz="456377" eaLnBrk="0" fontAlgn="base" hangingPunct="0">
              <a:spcAft>
                <a:spcPts val="200"/>
              </a:spcAft>
              <a:buClr>
                <a:srgbClr val="FF5800"/>
              </a:buClr>
              <a:buSzPct val="110000"/>
              <a:buFont typeface="Wingdings" panose="05000000000000000000" pitchFamily="2" charset="2"/>
              <a:buChar char="§"/>
              <a:defRPr/>
            </a:pPr>
            <a:r>
              <a:rPr lang="en-US" sz="1400" kern="0" dirty="0">
                <a:solidFill>
                  <a:srgbClr val="505150"/>
                </a:solidFill>
                <a:ea typeface="ＭＳ Ｐゴシック" charset="-128"/>
                <a:cs typeface="Arial"/>
              </a:rPr>
              <a:t>Further they use conversion metrics such as </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5: Car configuration details (flag variable) per day </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5: Number of dealer requests per day </a:t>
            </a:r>
          </a:p>
          <a:p>
            <a:pPr marL="459546" lvl="1" indent="-285236" defTabSz="456377" eaLnBrk="0" fontAlgn="base" hangingPunct="0">
              <a:spcAft>
                <a:spcPts val="200"/>
              </a:spcAft>
              <a:buClr>
                <a:srgbClr val="FF5800"/>
              </a:buClr>
              <a:buSzPct val="80000"/>
              <a:buFont typeface="Wingdings" panose="05000000000000000000" pitchFamily="2" charset="2"/>
              <a:buChar char="§"/>
              <a:defRPr/>
            </a:pPr>
            <a:r>
              <a:rPr lang="en-US" sz="1400" kern="0" dirty="0">
                <a:solidFill>
                  <a:srgbClr val="505150"/>
                </a:solidFill>
                <a:ea typeface="ＭＳ Ｐゴシック" charset="-128"/>
                <a:cs typeface="Arial"/>
              </a:rPr>
              <a:t>V6: Number of brochure downloads per day</a:t>
            </a:r>
          </a:p>
          <a:p>
            <a:pPr marL="0" lvl="1" defTabSz="456377" eaLnBrk="0" fontAlgn="base" hangingPunct="0">
              <a:spcAft>
                <a:spcPts val="200"/>
              </a:spcAft>
              <a:buClr>
                <a:srgbClr val="00BDF2"/>
              </a:buClr>
              <a:buSzPct val="110000"/>
              <a:defRPr/>
            </a:pPr>
            <a:endParaRPr lang="en-US" sz="1400" b="1" kern="0" dirty="0">
              <a:solidFill>
                <a:srgbClr val="505150"/>
              </a:solidFill>
              <a:ea typeface="ＭＳ Ｐゴシック" charset="-128"/>
              <a:cs typeface="Arial"/>
            </a:endParaRPr>
          </a:p>
          <a:p>
            <a:pPr marL="0" lvl="1" defTabSz="456377" eaLnBrk="0" fontAlgn="base" hangingPunct="0">
              <a:spcAft>
                <a:spcPts val="200"/>
              </a:spcAft>
              <a:buClr>
                <a:srgbClr val="00BDF2"/>
              </a:buClr>
              <a:buSzPct val="110000"/>
              <a:defRPr/>
            </a:pPr>
            <a:r>
              <a:rPr lang="en-US" sz="1400" b="1" kern="0" dirty="0">
                <a:solidFill>
                  <a:srgbClr val="505150"/>
                </a:solidFill>
                <a:ea typeface="ＭＳ Ｐゴシック" charset="-128"/>
                <a:cs typeface="Arial"/>
              </a:rPr>
              <a:t>Using the available data – how would you measure lead generation efficiency? </a:t>
            </a:r>
          </a:p>
        </p:txBody>
      </p:sp>
      <p:pic>
        <p:nvPicPr>
          <p:cNvPr id="35" name="Picture 3"/>
          <p:cNvPicPr>
            <a:picLocks noChangeAspect="1" noChangeArrowheads="1"/>
          </p:cNvPicPr>
          <p:nvPr/>
        </p:nvPicPr>
        <p:blipFill>
          <a:blip r:embed="rId3" cstate="print"/>
          <a:srcRect/>
          <a:stretch>
            <a:fillRect/>
          </a:stretch>
        </p:blipFill>
        <p:spPr bwMode="auto">
          <a:xfrm>
            <a:off x="6049659" y="3359999"/>
            <a:ext cx="4202263" cy="2865784"/>
          </a:xfrm>
          <a:prstGeom prst="rect">
            <a:avLst/>
          </a:prstGeom>
          <a:noFill/>
          <a:ln w="9525">
            <a:noFill/>
            <a:miter lim="800000"/>
            <a:headEnd/>
            <a:tailEnd/>
          </a:ln>
        </p:spPr>
      </p:pic>
      <p:pic>
        <p:nvPicPr>
          <p:cNvPr id="36" name="Picture 5" descr="http://www.londes.com/wp-content/uploads/2013/11/Google_Analytics_Dashboard.jpg"/>
          <p:cNvPicPr>
            <a:picLocks noChangeAspect="1" noChangeArrowheads="1"/>
          </p:cNvPicPr>
          <p:nvPr/>
        </p:nvPicPr>
        <p:blipFill>
          <a:blip r:embed="rId4" cstate="print"/>
          <a:srcRect/>
          <a:stretch>
            <a:fillRect/>
          </a:stretch>
        </p:blipFill>
        <p:spPr bwMode="auto">
          <a:xfrm>
            <a:off x="7487157" y="1266415"/>
            <a:ext cx="2587496" cy="2411457"/>
          </a:xfrm>
          <a:prstGeom prst="rect">
            <a:avLst/>
          </a:prstGeom>
          <a:noFill/>
        </p:spPr>
      </p:pic>
      <p:sp>
        <p:nvSpPr>
          <p:cNvPr id="2" name="Slide Number Placeholder 1"/>
          <p:cNvSpPr>
            <a:spLocks noGrp="1"/>
          </p:cNvSpPr>
          <p:nvPr>
            <p:ph type="sldNum" sz="quarter" idx="12"/>
          </p:nvPr>
        </p:nvSpPr>
        <p:spPr/>
        <p:txBody>
          <a:bodyPr/>
          <a:lstStyle/>
          <a:p>
            <a:fld id="{3847DB54-D037-B84F-B6F1-2E8DA40D09AD}" type="slidenum">
              <a:rPr lang="en-US" smtClean="0"/>
              <a:pPr/>
              <a:t>43</a:t>
            </a:fld>
            <a:endParaRPr lang="en-US"/>
          </a:p>
        </p:txBody>
      </p:sp>
    </p:spTree>
    <p:extLst>
      <p:ext uri="{BB962C8B-B14F-4D97-AF65-F5344CB8AC3E}">
        <p14:creationId xmlns:p14="http://schemas.microsoft.com/office/powerpoint/2010/main" val="357681171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a:latin typeface="Segoe UI Light" panose="020B0502040204020203" pitchFamily="34" charset="0"/>
                <a:cs typeface="Segoe UI Light" panose="020B0502040204020203" pitchFamily="34" charset="0"/>
              </a:rPr>
              <a:t>Which Modelling Method would you use? (2/2)</a:t>
            </a:r>
            <a:endParaRPr lang="en-US" dirty="0">
              <a:latin typeface="Segoe UI Light" panose="020B0502040204020203" pitchFamily="34" charset="0"/>
              <a:cs typeface="Segoe UI Light" panose="020B0502040204020203" pitchFamily="34" charset="0"/>
            </a:endParaRPr>
          </a:p>
        </p:txBody>
      </p:sp>
      <p:sp>
        <p:nvSpPr>
          <p:cNvPr id="11" name="Round Same Side Corner Rectangle 10"/>
          <p:cNvSpPr/>
          <p:nvPr/>
        </p:nvSpPr>
        <p:spPr bwMode="auto">
          <a:xfrm>
            <a:off x="1110107" y="1194039"/>
            <a:ext cx="4131744" cy="390048"/>
          </a:xfrm>
          <a:prstGeom prst="round2SameRect">
            <a:avLst/>
          </a:prstGeom>
          <a:solidFill>
            <a:schemeClr val="accent1"/>
          </a:solidFill>
          <a:ln w="9525" cap="flat" cmpd="sng" algn="ctr">
            <a:solidFill>
              <a:sysClr val="window" lastClr="FFFFFF">
                <a:lumMod val="95000"/>
              </a:sysClr>
            </a:solidFill>
            <a:prstDash val="solid"/>
            <a:round/>
            <a:headEnd type="none" w="med" len="med"/>
            <a:tailEnd type="none" w="med" len="med"/>
          </a:ln>
          <a:effectLst>
            <a:outerShdw blurRad="50800" dist="38099" dir="2700015" rotWithShape="0">
              <a:scrgbClr r="0" g="0" b="0">
                <a:alpha val="40000"/>
              </a:scrgbClr>
            </a:outerShdw>
          </a:effectLst>
        </p:spPr>
        <p:txBody>
          <a:bodyPr tIns="91271" bIns="91271"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8573" indent="-188573" algn="ctr" defTabSz="912754" eaLnBrk="0" hangingPunct="0">
              <a:lnSpc>
                <a:spcPct val="85000"/>
              </a:lnSpc>
              <a:buClr>
                <a:srgbClr val="ED7D31"/>
              </a:buClr>
              <a:buSzPct val="120000"/>
              <a:defRPr/>
            </a:pPr>
            <a:r>
              <a:rPr lang="en-US" altLang="ja-JP" sz="1600" b="1" dirty="0">
                <a:solidFill>
                  <a:sysClr val="window" lastClr="FFFFFF"/>
                </a:solidFill>
                <a:ea typeface="ＭＳ Ｐゴシック" pitchFamily="34" charset="-128"/>
                <a:cs typeface="Arial" charset="0"/>
              </a:rPr>
              <a:t>Case 2: Customer Satisfaction </a:t>
            </a:r>
          </a:p>
        </p:txBody>
      </p:sp>
      <p:sp>
        <p:nvSpPr>
          <p:cNvPr id="12" name="Rectangle 11"/>
          <p:cNvSpPr>
            <a:spLocks noChangeArrowheads="1"/>
          </p:cNvSpPr>
          <p:nvPr/>
        </p:nvSpPr>
        <p:spPr bwMode="gray">
          <a:xfrm>
            <a:off x="1110107" y="1584087"/>
            <a:ext cx="4131744" cy="4364329"/>
          </a:xfrm>
          <a:prstGeom prst="rect">
            <a:avLst/>
          </a:prstGeom>
          <a:solidFill>
            <a:sysClr val="window" lastClr="FFFFFF"/>
          </a:solidFill>
          <a:ln w="6350" algn="ctr">
            <a:solidFill>
              <a:sysClr val="window" lastClr="FFFFFF">
                <a:lumMod val="95000"/>
              </a:sysClr>
            </a:solidFill>
            <a:miter lim="800000"/>
            <a:headEnd/>
            <a:tailEnd/>
          </a:ln>
          <a:effectLst>
            <a:outerShdw blurRad="50800" dist="38100" dir="2700000" algn="tl" rotWithShape="0">
              <a:prstClr val="black">
                <a:alpha val="40000"/>
              </a:prstClr>
            </a:outerShdw>
          </a:effectLst>
        </p:spPr>
        <p:txBody>
          <a:bodyPr wrap="square" tIns="46713" bIns="46713"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236" lvl="1" indent="-285236" defTabSz="912754" eaLnBrk="0" hangingPunct="0">
              <a:spcAft>
                <a:spcPts val="2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A retail company </a:t>
            </a:r>
            <a:r>
              <a:rPr lang="en-US" sz="1400" b="1" dirty="0">
                <a:solidFill>
                  <a:srgbClr val="505150"/>
                </a:solidFill>
                <a:ea typeface="ＭＳ Ｐゴシック" charset="-128"/>
                <a:cs typeface="Arial"/>
              </a:rPr>
              <a:t>wants to understand what impacts customer satisfaction during the buying process on their online shop </a:t>
            </a:r>
          </a:p>
          <a:p>
            <a:pPr marL="285236" lvl="1" indent="-285236" defTabSz="912754" eaLnBrk="0" hangingPunct="0">
              <a:spcAft>
                <a:spcPts val="2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When entering the website, the customer is asked to fill in a </a:t>
            </a:r>
            <a:r>
              <a:rPr lang="en-US" sz="1400" b="1" dirty="0">
                <a:solidFill>
                  <a:srgbClr val="505150"/>
                </a:solidFill>
                <a:ea typeface="ＭＳ Ｐゴシック" charset="-128"/>
                <a:cs typeface="Arial"/>
              </a:rPr>
              <a:t>survey for evaluating their website experience </a:t>
            </a:r>
          </a:p>
          <a:p>
            <a:pPr marL="285236" lvl="1" indent="-285236" defTabSz="912754" eaLnBrk="0" hangingPunct="0">
              <a:spcAft>
                <a:spcPts val="2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Questions asked concern: </a:t>
            </a:r>
          </a:p>
          <a:p>
            <a:pPr marL="459546" lvl="1" indent="-285236" defTabSz="912754" eaLnBrk="0" hangingPunct="0">
              <a:spcAft>
                <a:spcPts val="200"/>
              </a:spcAft>
              <a:buClr>
                <a:srgbClr val="FF5800"/>
              </a:buClr>
              <a:buSzPct val="80000"/>
              <a:buFont typeface="Wingdings" panose="05000000000000000000" pitchFamily="2" charset="2"/>
              <a:buChar char="§"/>
              <a:defRPr/>
            </a:pPr>
            <a:r>
              <a:rPr lang="en-US" sz="1400" dirty="0">
                <a:solidFill>
                  <a:srgbClr val="505150"/>
                </a:solidFill>
                <a:ea typeface="ＭＳ Ｐゴシック" charset="-128"/>
                <a:cs typeface="Arial"/>
              </a:rPr>
              <a:t>Q1: Usability of the website </a:t>
            </a:r>
          </a:p>
          <a:p>
            <a:pPr marL="459546" lvl="1" indent="-285236" defTabSz="912754" eaLnBrk="0" hangingPunct="0">
              <a:spcAft>
                <a:spcPts val="200"/>
              </a:spcAft>
              <a:buClr>
                <a:srgbClr val="FF5800"/>
              </a:buClr>
              <a:buSzPct val="80000"/>
              <a:buFont typeface="Wingdings" panose="05000000000000000000" pitchFamily="2" charset="2"/>
              <a:buChar char="§"/>
              <a:defRPr/>
            </a:pPr>
            <a:r>
              <a:rPr lang="en-US" sz="1400" dirty="0">
                <a:solidFill>
                  <a:srgbClr val="505150"/>
                </a:solidFill>
                <a:ea typeface="ＭＳ Ｐゴシック" charset="-128"/>
                <a:cs typeface="Arial"/>
              </a:rPr>
              <a:t>Q2: Service guarantee availability </a:t>
            </a:r>
          </a:p>
          <a:p>
            <a:pPr marL="459546" lvl="1" indent="-285236" defTabSz="912754" eaLnBrk="0" hangingPunct="0">
              <a:spcAft>
                <a:spcPts val="200"/>
              </a:spcAft>
              <a:buClr>
                <a:srgbClr val="FF5800"/>
              </a:buClr>
              <a:buSzPct val="80000"/>
              <a:buFont typeface="Wingdings" panose="05000000000000000000" pitchFamily="2" charset="2"/>
              <a:buChar char="§"/>
              <a:defRPr/>
            </a:pPr>
            <a:r>
              <a:rPr lang="en-US" sz="1400" dirty="0">
                <a:solidFill>
                  <a:srgbClr val="505150"/>
                </a:solidFill>
                <a:ea typeface="ＭＳ Ｐゴシック" charset="-128"/>
                <a:cs typeface="Arial"/>
              </a:rPr>
              <a:t>Q3: Number of products usually bought</a:t>
            </a:r>
          </a:p>
          <a:p>
            <a:pPr marL="459546" lvl="1" indent="-285236" defTabSz="912754" eaLnBrk="0" hangingPunct="0">
              <a:spcAft>
                <a:spcPts val="200"/>
              </a:spcAft>
              <a:buClr>
                <a:srgbClr val="FF5800"/>
              </a:buClr>
              <a:buSzPct val="80000"/>
              <a:buFont typeface="Wingdings" panose="05000000000000000000" pitchFamily="2" charset="2"/>
              <a:buChar char="§"/>
              <a:defRPr/>
            </a:pPr>
            <a:r>
              <a:rPr lang="en-US" sz="1400" dirty="0">
                <a:solidFill>
                  <a:srgbClr val="505150"/>
                </a:solidFill>
                <a:ea typeface="ＭＳ Ｐゴシック" charset="-128"/>
                <a:cs typeface="Arial"/>
              </a:rPr>
              <a:t>Q4: Importance of personalization features </a:t>
            </a:r>
          </a:p>
          <a:p>
            <a:pPr marL="459546" lvl="1" indent="-285236" defTabSz="912754" eaLnBrk="0" hangingPunct="0">
              <a:spcAft>
                <a:spcPts val="200"/>
              </a:spcAft>
              <a:buClr>
                <a:srgbClr val="FF5800"/>
              </a:buClr>
              <a:buSzPct val="80000"/>
              <a:buFont typeface="Wingdings" panose="05000000000000000000" pitchFamily="2" charset="2"/>
              <a:buChar char="§"/>
              <a:defRPr/>
            </a:pPr>
            <a:r>
              <a:rPr lang="en-US" sz="1400" dirty="0">
                <a:solidFill>
                  <a:srgbClr val="505150"/>
                </a:solidFill>
                <a:ea typeface="ＭＳ Ｐゴシック" charset="-128"/>
                <a:cs typeface="Arial"/>
              </a:rPr>
              <a:t>Q5: Recommendation of the website to </a:t>
            </a:r>
            <a:br>
              <a:rPr lang="en-US" sz="1400" dirty="0">
                <a:solidFill>
                  <a:srgbClr val="505150"/>
                </a:solidFill>
                <a:ea typeface="ＭＳ Ｐゴシック" charset="-128"/>
                <a:cs typeface="Arial"/>
              </a:rPr>
            </a:br>
            <a:r>
              <a:rPr lang="en-US" sz="1400" dirty="0">
                <a:solidFill>
                  <a:srgbClr val="505150"/>
                </a:solidFill>
                <a:ea typeface="ＭＳ Ｐゴシック" charset="-128"/>
                <a:cs typeface="Arial"/>
              </a:rPr>
              <a:t>a friend </a:t>
            </a:r>
          </a:p>
          <a:p>
            <a:pPr marL="285236" lvl="1" indent="-285236" defTabSz="912754" eaLnBrk="0" hangingPunct="0">
              <a:spcAft>
                <a:spcPts val="2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Q1, Q2 and Q4 are measured on a 5-point Likert scale with 1=Do not agree at all – 5= Totally agree</a:t>
            </a:r>
          </a:p>
          <a:p>
            <a:pPr marL="285236" lvl="1" indent="-285236" defTabSz="912754" eaLnBrk="0" hangingPunct="0">
              <a:spcAft>
                <a:spcPts val="200"/>
              </a:spcAft>
              <a:buClr>
                <a:srgbClr val="FF5800"/>
              </a:buClr>
              <a:buSzPct val="110000"/>
              <a:buFont typeface="Wingdings" panose="05000000000000000000" pitchFamily="2" charset="2"/>
              <a:buChar char="§"/>
              <a:defRPr/>
            </a:pPr>
            <a:r>
              <a:rPr lang="en-US" sz="1400" dirty="0">
                <a:solidFill>
                  <a:srgbClr val="505150"/>
                </a:solidFill>
                <a:ea typeface="ＭＳ Ｐゴシック" charset="-128"/>
                <a:cs typeface="Arial"/>
              </a:rPr>
              <a:t>Q5 can be answered with yes or no</a:t>
            </a:r>
          </a:p>
          <a:p>
            <a:pPr marL="0" lvl="1" defTabSz="912754" eaLnBrk="0" hangingPunct="0">
              <a:spcAft>
                <a:spcPts val="200"/>
              </a:spcAft>
              <a:buClr>
                <a:srgbClr val="00BDF2"/>
              </a:buClr>
              <a:buSzPct val="110000"/>
              <a:defRPr/>
            </a:pPr>
            <a:r>
              <a:rPr lang="en-US" sz="1400" b="1" dirty="0">
                <a:solidFill>
                  <a:srgbClr val="505150"/>
                </a:solidFill>
                <a:ea typeface="ＭＳ Ｐゴシック" charset="-128"/>
                <a:cs typeface="Arial"/>
              </a:rPr>
              <a:t>Using the available data – how would you measure customer satisfaction? </a:t>
            </a:r>
          </a:p>
        </p:txBody>
      </p:sp>
      <p:pic>
        <p:nvPicPr>
          <p:cNvPr id="13" name="Picture 12" descr="http://1.bp.blogspot.com/-2y5emHy_xwA/USVzKJwdweI/AAAAAAAAD9w/xWXpzRXAsgk/s1600/likert-scale.jpg"/>
          <p:cNvPicPr>
            <a:picLocks noChangeAspect="1" noChangeArrowheads="1"/>
          </p:cNvPicPr>
          <p:nvPr/>
        </p:nvPicPr>
        <p:blipFill>
          <a:blip r:embed="rId3" cstate="print"/>
          <a:srcRect/>
          <a:stretch>
            <a:fillRect/>
          </a:stretch>
        </p:blipFill>
        <p:spPr bwMode="auto">
          <a:xfrm>
            <a:off x="5772073" y="1194039"/>
            <a:ext cx="3802957" cy="2852218"/>
          </a:xfrm>
          <a:prstGeom prst="rect">
            <a:avLst/>
          </a:prstGeom>
          <a:noFill/>
        </p:spPr>
      </p:pic>
      <p:pic>
        <p:nvPicPr>
          <p:cNvPr id="14" name="Picture 13" descr="http://www.kpbmbookkeeping.com/wp-content/uploads/2014/04/creating-value-and-driving-customer-satisfaction.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374006" y="3062214"/>
            <a:ext cx="2731246" cy="2731246"/>
          </a:xfrm>
          <a:prstGeom prst="rect">
            <a:avLst/>
          </a:prstGeom>
          <a:noFill/>
        </p:spPr>
      </p:pic>
      <p:sp>
        <p:nvSpPr>
          <p:cNvPr id="2" name="Slide Number Placeholder 1"/>
          <p:cNvSpPr>
            <a:spLocks noGrp="1"/>
          </p:cNvSpPr>
          <p:nvPr>
            <p:ph type="sldNum" sz="quarter" idx="12"/>
          </p:nvPr>
        </p:nvSpPr>
        <p:spPr/>
        <p:txBody>
          <a:bodyPr/>
          <a:lstStyle/>
          <a:p>
            <a:fld id="{3847DB54-D037-B84F-B6F1-2E8DA40D09AD}" type="slidenum">
              <a:rPr lang="en-US" smtClean="0"/>
              <a:pPr/>
              <a:t>44</a:t>
            </a:fld>
            <a:endParaRPr lang="en-US"/>
          </a:p>
        </p:txBody>
      </p:sp>
    </p:spTree>
    <p:extLst>
      <p:ext uri="{BB962C8B-B14F-4D97-AF65-F5344CB8AC3E}">
        <p14:creationId xmlns:p14="http://schemas.microsoft.com/office/powerpoint/2010/main" val="4332477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a:latin typeface="Segoe UI Light" panose="020B0502040204020203" pitchFamily="34" charset="0"/>
                <a:cs typeface="Segoe UI Light" panose="020B0502040204020203" pitchFamily="34" charset="0"/>
              </a:rPr>
              <a:t>How to Evaluate the Results of Linear Regression?</a:t>
            </a:r>
            <a:endParaRPr lang="en-US" dirty="0">
              <a:latin typeface="Segoe UI Light" panose="020B0502040204020203" pitchFamily="34" charset="0"/>
              <a:cs typeface="Segoe UI Light" panose="020B0502040204020203"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545308661"/>
              </p:ext>
            </p:extLst>
          </p:nvPr>
        </p:nvGraphicFramePr>
        <p:xfrm>
          <a:off x="960792" y="1562940"/>
          <a:ext cx="9586706" cy="4217019"/>
        </p:xfrm>
        <a:graphic>
          <a:graphicData uri="http://schemas.openxmlformats.org/drawingml/2006/table">
            <a:tbl>
              <a:tblPr firstRow="1" bandRow="1"/>
              <a:tblGrid>
                <a:gridCol w="1787124">
                  <a:extLst>
                    <a:ext uri="{9D8B030D-6E8A-4147-A177-3AD203B41FA5}">
                      <a16:colId xmlns:a16="http://schemas.microsoft.com/office/drawing/2014/main" val="20000"/>
                    </a:ext>
                  </a:extLst>
                </a:gridCol>
                <a:gridCol w="3818724">
                  <a:extLst>
                    <a:ext uri="{9D8B030D-6E8A-4147-A177-3AD203B41FA5}">
                      <a16:colId xmlns:a16="http://schemas.microsoft.com/office/drawing/2014/main" val="20001"/>
                    </a:ext>
                  </a:extLst>
                </a:gridCol>
                <a:gridCol w="3980858">
                  <a:extLst>
                    <a:ext uri="{9D8B030D-6E8A-4147-A177-3AD203B41FA5}">
                      <a16:colId xmlns:a16="http://schemas.microsoft.com/office/drawing/2014/main" val="20002"/>
                    </a:ext>
                  </a:extLst>
                </a:gridCol>
              </a:tblGrid>
              <a:tr h="803386">
                <a:tc>
                  <a:txBody>
                    <a:bodyPr/>
                    <a:lstStyle>
                      <a:lvl1pPr marL="0" algn="l" defTabSz="686660" rtl="0" eaLnBrk="1" latinLnBrk="0" hangingPunct="1">
                        <a:defRPr sz="1352" b="1" kern="1200">
                          <a:solidFill>
                            <a:schemeClr val="lt1"/>
                          </a:solidFill>
                          <a:latin typeface="Calibri"/>
                        </a:defRPr>
                      </a:lvl1pPr>
                      <a:lvl2pPr marL="343330" algn="l" defTabSz="686660" rtl="0" eaLnBrk="1" latinLnBrk="0" hangingPunct="1">
                        <a:defRPr sz="1352" b="1" kern="1200">
                          <a:solidFill>
                            <a:schemeClr val="lt1"/>
                          </a:solidFill>
                          <a:latin typeface="Calibri"/>
                        </a:defRPr>
                      </a:lvl2pPr>
                      <a:lvl3pPr marL="686660" algn="l" defTabSz="686660" rtl="0" eaLnBrk="1" latinLnBrk="0" hangingPunct="1">
                        <a:defRPr sz="1352" b="1" kern="1200">
                          <a:solidFill>
                            <a:schemeClr val="lt1"/>
                          </a:solidFill>
                          <a:latin typeface="Calibri"/>
                        </a:defRPr>
                      </a:lvl3pPr>
                      <a:lvl4pPr marL="1029991" algn="l" defTabSz="686660" rtl="0" eaLnBrk="1" latinLnBrk="0" hangingPunct="1">
                        <a:defRPr sz="1352" b="1" kern="1200">
                          <a:solidFill>
                            <a:schemeClr val="lt1"/>
                          </a:solidFill>
                          <a:latin typeface="Calibri"/>
                        </a:defRPr>
                      </a:lvl4pPr>
                      <a:lvl5pPr marL="1373321" algn="l" defTabSz="686660" rtl="0" eaLnBrk="1" latinLnBrk="0" hangingPunct="1">
                        <a:defRPr sz="1352" b="1" kern="1200">
                          <a:solidFill>
                            <a:schemeClr val="lt1"/>
                          </a:solidFill>
                          <a:latin typeface="Calibri"/>
                        </a:defRPr>
                      </a:lvl5pPr>
                      <a:lvl6pPr marL="1716652" algn="l" defTabSz="686660" rtl="0" eaLnBrk="1" latinLnBrk="0" hangingPunct="1">
                        <a:defRPr sz="1352" b="1" kern="1200">
                          <a:solidFill>
                            <a:schemeClr val="lt1"/>
                          </a:solidFill>
                          <a:latin typeface="Calibri"/>
                        </a:defRPr>
                      </a:lvl6pPr>
                      <a:lvl7pPr marL="2059982" algn="l" defTabSz="686660" rtl="0" eaLnBrk="1" latinLnBrk="0" hangingPunct="1">
                        <a:defRPr sz="1352" b="1" kern="1200">
                          <a:solidFill>
                            <a:schemeClr val="lt1"/>
                          </a:solidFill>
                          <a:latin typeface="Calibri"/>
                        </a:defRPr>
                      </a:lvl7pPr>
                      <a:lvl8pPr marL="2403312" algn="l" defTabSz="686660" rtl="0" eaLnBrk="1" latinLnBrk="0" hangingPunct="1">
                        <a:defRPr sz="1352" b="1" kern="1200">
                          <a:solidFill>
                            <a:schemeClr val="lt1"/>
                          </a:solidFill>
                          <a:latin typeface="Calibri"/>
                        </a:defRPr>
                      </a:lvl8pPr>
                      <a:lvl9pPr marL="2746643" algn="l" defTabSz="686660" rtl="0" eaLnBrk="1" latinLnBrk="0" hangingPunct="1">
                        <a:defRPr sz="1352" b="1" kern="1200">
                          <a:solidFill>
                            <a:schemeClr val="lt1"/>
                          </a:solidFill>
                          <a:latin typeface="Calibri"/>
                        </a:defRPr>
                      </a:lvl9pPr>
                    </a:lstStyle>
                    <a:p>
                      <a:pPr algn="ctr"/>
                      <a:r>
                        <a:rPr lang="en-US" sz="1600" b="1" i="0" dirty="0">
                          <a:latin typeface="+mn-lt"/>
                        </a:rPr>
                        <a:t>Model Evaluation</a:t>
                      </a:r>
                      <a:r>
                        <a:rPr lang="en-US" sz="1600" b="1" i="0" baseline="0" dirty="0">
                          <a:latin typeface="+mn-lt"/>
                        </a:rPr>
                        <a:t> Method</a:t>
                      </a:r>
                      <a:endParaRPr lang="en-US" sz="1600" b="1" i="0" dirty="0">
                        <a:latin typeface="+mn-lt"/>
                      </a:endParaRPr>
                    </a:p>
                  </a:txBody>
                  <a:tcPr marL="89834" marR="89834" marT="35933" marB="35933"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686660" rtl="0" eaLnBrk="1" latinLnBrk="0" hangingPunct="1">
                        <a:defRPr sz="1352" b="1" kern="1200">
                          <a:solidFill>
                            <a:schemeClr val="lt1"/>
                          </a:solidFill>
                          <a:latin typeface="Calibri"/>
                        </a:defRPr>
                      </a:lvl1pPr>
                      <a:lvl2pPr marL="343330" algn="l" defTabSz="686660" rtl="0" eaLnBrk="1" latinLnBrk="0" hangingPunct="1">
                        <a:defRPr sz="1352" b="1" kern="1200">
                          <a:solidFill>
                            <a:schemeClr val="lt1"/>
                          </a:solidFill>
                          <a:latin typeface="Calibri"/>
                        </a:defRPr>
                      </a:lvl2pPr>
                      <a:lvl3pPr marL="686660" algn="l" defTabSz="686660" rtl="0" eaLnBrk="1" latinLnBrk="0" hangingPunct="1">
                        <a:defRPr sz="1352" b="1" kern="1200">
                          <a:solidFill>
                            <a:schemeClr val="lt1"/>
                          </a:solidFill>
                          <a:latin typeface="Calibri"/>
                        </a:defRPr>
                      </a:lvl3pPr>
                      <a:lvl4pPr marL="1029991" algn="l" defTabSz="686660" rtl="0" eaLnBrk="1" latinLnBrk="0" hangingPunct="1">
                        <a:defRPr sz="1352" b="1" kern="1200">
                          <a:solidFill>
                            <a:schemeClr val="lt1"/>
                          </a:solidFill>
                          <a:latin typeface="Calibri"/>
                        </a:defRPr>
                      </a:lvl4pPr>
                      <a:lvl5pPr marL="1373321" algn="l" defTabSz="686660" rtl="0" eaLnBrk="1" latinLnBrk="0" hangingPunct="1">
                        <a:defRPr sz="1352" b="1" kern="1200">
                          <a:solidFill>
                            <a:schemeClr val="lt1"/>
                          </a:solidFill>
                          <a:latin typeface="Calibri"/>
                        </a:defRPr>
                      </a:lvl5pPr>
                      <a:lvl6pPr marL="1716652" algn="l" defTabSz="686660" rtl="0" eaLnBrk="1" latinLnBrk="0" hangingPunct="1">
                        <a:defRPr sz="1352" b="1" kern="1200">
                          <a:solidFill>
                            <a:schemeClr val="lt1"/>
                          </a:solidFill>
                          <a:latin typeface="Calibri"/>
                        </a:defRPr>
                      </a:lvl6pPr>
                      <a:lvl7pPr marL="2059982" algn="l" defTabSz="686660" rtl="0" eaLnBrk="1" latinLnBrk="0" hangingPunct="1">
                        <a:defRPr sz="1352" b="1" kern="1200">
                          <a:solidFill>
                            <a:schemeClr val="lt1"/>
                          </a:solidFill>
                          <a:latin typeface="Calibri"/>
                        </a:defRPr>
                      </a:lvl7pPr>
                      <a:lvl8pPr marL="2403312" algn="l" defTabSz="686660" rtl="0" eaLnBrk="1" latinLnBrk="0" hangingPunct="1">
                        <a:defRPr sz="1352" b="1" kern="1200">
                          <a:solidFill>
                            <a:schemeClr val="lt1"/>
                          </a:solidFill>
                          <a:latin typeface="Calibri"/>
                        </a:defRPr>
                      </a:lvl8pPr>
                      <a:lvl9pPr marL="2746643" algn="l" defTabSz="686660" rtl="0" eaLnBrk="1" latinLnBrk="0" hangingPunct="1">
                        <a:defRPr sz="1352" b="1" kern="1200">
                          <a:solidFill>
                            <a:schemeClr val="lt1"/>
                          </a:solidFill>
                          <a:latin typeface="Calibri"/>
                        </a:defRPr>
                      </a:lvl9pPr>
                    </a:lstStyle>
                    <a:p>
                      <a:pPr algn="ctr"/>
                      <a:r>
                        <a:rPr lang="en-US" sz="1600" b="1" i="0" dirty="0">
                          <a:latin typeface="+mn-lt"/>
                        </a:rPr>
                        <a:t>Measure</a:t>
                      </a:r>
                    </a:p>
                  </a:txBody>
                  <a:tcPr marL="89834" marR="89834" marT="35933" marB="35933"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686660" rtl="0" eaLnBrk="1" latinLnBrk="0" hangingPunct="1">
                        <a:defRPr sz="1352" b="1" kern="1200">
                          <a:solidFill>
                            <a:schemeClr val="lt1"/>
                          </a:solidFill>
                          <a:latin typeface="Calibri"/>
                        </a:defRPr>
                      </a:lvl1pPr>
                      <a:lvl2pPr marL="343330" algn="l" defTabSz="686660" rtl="0" eaLnBrk="1" latinLnBrk="0" hangingPunct="1">
                        <a:defRPr sz="1352" b="1" kern="1200">
                          <a:solidFill>
                            <a:schemeClr val="lt1"/>
                          </a:solidFill>
                          <a:latin typeface="Calibri"/>
                        </a:defRPr>
                      </a:lvl2pPr>
                      <a:lvl3pPr marL="686660" algn="l" defTabSz="686660" rtl="0" eaLnBrk="1" latinLnBrk="0" hangingPunct="1">
                        <a:defRPr sz="1352" b="1" kern="1200">
                          <a:solidFill>
                            <a:schemeClr val="lt1"/>
                          </a:solidFill>
                          <a:latin typeface="Calibri"/>
                        </a:defRPr>
                      </a:lvl3pPr>
                      <a:lvl4pPr marL="1029991" algn="l" defTabSz="686660" rtl="0" eaLnBrk="1" latinLnBrk="0" hangingPunct="1">
                        <a:defRPr sz="1352" b="1" kern="1200">
                          <a:solidFill>
                            <a:schemeClr val="lt1"/>
                          </a:solidFill>
                          <a:latin typeface="Calibri"/>
                        </a:defRPr>
                      </a:lvl4pPr>
                      <a:lvl5pPr marL="1373321" algn="l" defTabSz="686660" rtl="0" eaLnBrk="1" latinLnBrk="0" hangingPunct="1">
                        <a:defRPr sz="1352" b="1" kern="1200">
                          <a:solidFill>
                            <a:schemeClr val="lt1"/>
                          </a:solidFill>
                          <a:latin typeface="Calibri"/>
                        </a:defRPr>
                      </a:lvl5pPr>
                      <a:lvl6pPr marL="1716652" algn="l" defTabSz="686660" rtl="0" eaLnBrk="1" latinLnBrk="0" hangingPunct="1">
                        <a:defRPr sz="1352" b="1" kern="1200">
                          <a:solidFill>
                            <a:schemeClr val="lt1"/>
                          </a:solidFill>
                          <a:latin typeface="Calibri"/>
                        </a:defRPr>
                      </a:lvl6pPr>
                      <a:lvl7pPr marL="2059982" algn="l" defTabSz="686660" rtl="0" eaLnBrk="1" latinLnBrk="0" hangingPunct="1">
                        <a:defRPr sz="1352" b="1" kern="1200">
                          <a:solidFill>
                            <a:schemeClr val="lt1"/>
                          </a:solidFill>
                          <a:latin typeface="Calibri"/>
                        </a:defRPr>
                      </a:lvl7pPr>
                      <a:lvl8pPr marL="2403312" algn="l" defTabSz="686660" rtl="0" eaLnBrk="1" latinLnBrk="0" hangingPunct="1">
                        <a:defRPr sz="1352" b="1" kern="1200">
                          <a:solidFill>
                            <a:schemeClr val="lt1"/>
                          </a:solidFill>
                          <a:latin typeface="Calibri"/>
                        </a:defRPr>
                      </a:lvl8pPr>
                      <a:lvl9pPr marL="2746643" algn="l" defTabSz="686660" rtl="0" eaLnBrk="1" latinLnBrk="0" hangingPunct="1">
                        <a:defRPr sz="1352" b="1" kern="1200">
                          <a:solidFill>
                            <a:schemeClr val="lt1"/>
                          </a:solidFill>
                          <a:latin typeface="Calibri"/>
                        </a:defRPr>
                      </a:lvl9pPr>
                    </a:lstStyle>
                    <a:p>
                      <a:pPr algn="ctr"/>
                      <a:r>
                        <a:rPr lang="en-US" sz="1600" b="1" i="0" dirty="0">
                          <a:latin typeface="+mn-lt"/>
                        </a:rPr>
                        <a:t>Result Interpretation </a:t>
                      </a:r>
                    </a:p>
                  </a:txBody>
                  <a:tcPr marL="89834" marR="89834" marT="35933" marB="35933"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10764">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400" b="1" i="0" dirty="0">
                          <a:solidFill>
                            <a:srgbClr val="505150"/>
                          </a:solidFill>
                          <a:latin typeface="+mn-lt"/>
                        </a:rPr>
                        <a:t>Overall model</a:t>
                      </a:r>
                      <a:r>
                        <a:rPr lang="en-US" sz="1400" b="1" i="0" baseline="0" dirty="0">
                          <a:solidFill>
                            <a:srgbClr val="505150"/>
                          </a:solidFill>
                          <a:latin typeface="+mn-lt"/>
                        </a:rPr>
                        <a:t> fit</a:t>
                      </a:r>
                      <a:endParaRPr lang="en-US" sz="1400" b="1"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400" b="0" i="0" baseline="0" dirty="0">
                          <a:solidFill>
                            <a:srgbClr val="505150"/>
                          </a:solidFill>
                          <a:latin typeface="+mn-lt"/>
                        </a:rPr>
                        <a:t>P-Value for difference between null and the full model determined by the F statistic </a:t>
                      </a:r>
                      <a:endParaRPr lang="en-US" sz="1400" b="0"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400" b="0" i="0" dirty="0">
                          <a:solidFill>
                            <a:srgbClr val="505150"/>
                          </a:solidFill>
                          <a:latin typeface="+mn-lt"/>
                        </a:rPr>
                        <a:t>If P</a:t>
                      </a:r>
                      <a:r>
                        <a:rPr lang="en-US" sz="1400" b="0" i="0" baseline="0" dirty="0">
                          <a:solidFill>
                            <a:srgbClr val="505150"/>
                          </a:solidFill>
                          <a:latin typeface="+mn-lt"/>
                        </a:rPr>
                        <a:t>&lt;0.05 </a:t>
                      </a:r>
                      <a:r>
                        <a:rPr lang="en-US" sz="1400" b="0" i="0" dirty="0">
                          <a:solidFill>
                            <a:srgbClr val="505150"/>
                          </a:solidFill>
                          <a:latin typeface="+mn-lt"/>
                        </a:rPr>
                        <a:t>then there is evidence that at least one of the independent variables contributes to the prediction of the outcome.</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349661">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nl-NL" sz="1400" b="1" i="0" dirty="0">
                          <a:solidFill>
                            <a:srgbClr val="505150"/>
                          </a:solidFill>
                          <a:latin typeface="+mn-lt"/>
                        </a:rPr>
                        <a:t>Goodness</a:t>
                      </a:r>
                      <a:r>
                        <a:rPr lang="nl-NL" sz="1400" b="1" i="0" baseline="0" dirty="0">
                          <a:solidFill>
                            <a:srgbClr val="505150"/>
                          </a:solidFill>
                          <a:latin typeface="+mn-lt"/>
                        </a:rPr>
                        <a:t> of Fit: Coefficient of Determination</a:t>
                      </a:r>
                      <a:endParaRPr lang="en-US" sz="1400" b="1"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pPr marL="0" algn="l" defTabSz="686660" rtl="0" eaLnBrk="1" latinLnBrk="0" hangingPunct="1"/>
                      <a:r>
                        <a:rPr lang="en-US" sz="1400" b="0" i="0" dirty="0">
                          <a:solidFill>
                            <a:srgbClr val="505150"/>
                          </a:solidFill>
                          <a:latin typeface="+mn-lt"/>
                        </a:rPr>
                        <a:t>R</a:t>
                      </a:r>
                      <a:r>
                        <a:rPr lang="en-US" sz="1400" b="0" i="0" kern="1200" baseline="0" dirty="0">
                          <a:solidFill>
                            <a:srgbClr val="505150"/>
                          </a:solidFill>
                          <a:latin typeface="+mn-lt"/>
                          <a:ea typeface="+mn-ea"/>
                          <a:cs typeface="+mn-cs"/>
                        </a:rPr>
                        <a:t>-Square measures the proportion of variation in the target variable that is accounted for (or explained) by the regression model</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pPr marL="0" algn="l" defTabSz="686660" rtl="0" eaLnBrk="1" latinLnBrk="0" hangingPunct="1"/>
                      <a:r>
                        <a:rPr lang="en-US" sz="1400" b="0" i="0" dirty="0">
                          <a:effectLst/>
                          <a:latin typeface="+mn-lt"/>
                        </a:rPr>
                        <a:t>I</a:t>
                      </a:r>
                      <a:r>
                        <a:rPr lang="en-US" sz="1400" b="0" i="0" kern="1200" dirty="0">
                          <a:solidFill>
                            <a:srgbClr val="505150"/>
                          </a:solidFill>
                          <a:latin typeface="+mn-lt"/>
                          <a:ea typeface="+mn-ea"/>
                          <a:cs typeface="+mn-cs"/>
                        </a:rPr>
                        <a:t>f the predictions are close to the actual values, we would expect R2 to be close to 1. On the other hand, if the predictions are unrelated to the actual values, then R2=0 or close to 0 . In all cases, R2 lies between 0 and 1</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349661">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400" b="1" i="0" dirty="0">
                          <a:solidFill>
                            <a:srgbClr val="505150"/>
                          </a:solidFill>
                          <a:latin typeface="+mn-lt"/>
                        </a:rPr>
                        <a:t>Regression coefficients</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400" b="0" i="0" dirty="0">
                          <a:solidFill>
                            <a:srgbClr val="505150"/>
                          </a:solidFill>
                          <a:latin typeface="+mn-lt"/>
                        </a:rPr>
                        <a:t>P-Value</a:t>
                      </a:r>
                      <a:r>
                        <a:rPr lang="en-US" sz="1400" b="0" i="0" baseline="0" dirty="0">
                          <a:solidFill>
                            <a:srgbClr val="505150"/>
                          </a:solidFill>
                          <a:latin typeface="+mn-lt"/>
                        </a:rPr>
                        <a:t> of regression coefficients </a:t>
                      </a:r>
                      <a:endParaRPr lang="en-US" sz="1400" b="0"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400" b="0" i="0" dirty="0">
                          <a:solidFill>
                            <a:srgbClr val="505150"/>
                          </a:solidFill>
                          <a:latin typeface="+mn-lt"/>
                        </a:rPr>
                        <a:t>If P&lt;0.05 then the variable contributes significantly to the prediction of the outcome variable;</a:t>
                      </a:r>
                      <a:r>
                        <a:rPr lang="en-US" sz="1400" b="0" i="0" baseline="0" dirty="0">
                          <a:solidFill>
                            <a:srgbClr val="505150"/>
                          </a:solidFill>
                          <a:latin typeface="+mn-lt"/>
                        </a:rPr>
                        <a:t> </a:t>
                      </a:r>
                    </a:p>
                    <a:p>
                      <a:r>
                        <a:rPr lang="en-US" sz="1400" b="0" i="0" dirty="0">
                          <a:solidFill>
                            <a:srgbClr val="505150"/>
                          </a:solidFill>
                          <a:latin typeface="+mn-lt"/>
                        </a:rPr>
                        <a:t>The linear</a:t>
                      </a:r>
                      <a:r>
                        <a:rPr lang="en-US" sz="1400" b="0" i="0" baseline="0" dirty="0">
                          <a:solidFill>
                            <a:srgbClr val="505150"/>
                          </a:solidFill>
                          <a:latin typeface="+mn-lt"/>
                        </a:rPr>
                        <a:t> </a:t>
                      </a:r>
                      <a:r>
                        <a:rPr lang="en-US" sz="1400" b="0" i="0" dirty="0">
                          <a:solidFill>
                            <a:srgbClr val="505150"/>
                          </a:solidFill>
                          <a:latin typeface="+mn-lt"/>
                        </a:rPr>
                        <a:t>regression coefficients show the change in</a:t>
                      </a:r>
                      <a:r>
                        <a:rPr lang="en-US" sz="1400" b="0" i="0" baseline="0" dirty="0">
                          <a:solidFill>
                            <a:srgbClr val="505150"/>
                          </a:solidFill>
                          <a:latin typeface="+mn-lt"/>
                        </a:rPr>
                        <a:t> the target variable for one unit ch</a:t>
                      </a:r>
                      <a:r>
                        <a:rPr lang="en-US" sz="1400" b="0" i="0" dirty="0">
                          <a:solidFill>
                            <a:srgbClr val="505150"/>
                          </a:solidFill>
                          <a:latin typeface="+mn-lt"/>
                        </a:rPr>
                        <a:t>ange in the independent variables</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3"/>
                  </a:ext>
                </a:extLst>
              </a:tr>
            </a:tbl>
          </a:graphicData>
        </a:graphic>
      </p:graphicFrame>
      <p:sp>
        <p:nvSpPr>
          <p:cNvPr id="2" name="Slide Number Placeholder 1"/>
          <p:cNvSpPr>
            <a:spLocks noGrp="1"/>
          </p:cNvSpPr>
          <p:nvPr>
            <p:ph type="sldNum" sz="quarter" idx="12"/>
          </p:nvPr>
        </p:nvSpPr>
        <p:spPr/>
        <p:txBody>
          <a:bodyPr/>
          <a:lstStyle/>
          <a:p>
            <a:fld id="{3847DB54-D037-B84F-B6F1-2E8DA40D09AD}" type="slidenum">
              <a:rPr lang="en-US" smtClean="0"/>
              <a:pPr/>
              <a:t>45</a:t>
            </a:fld>
            <a:endParaRPr lang="en-US"/>
          </a:p>
        </p:txBody>
      </p:sp>
    </p:spTree>
    <p:extLst>
      <p:ext uri="{BB962C8B-B14F-4D97-AF65-F5344CB8AC3E}">
        <p14:creationId xmlns:p14="http://schemas.microsoft.com/office/powerpoint/2010/main" val="175970887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a:latin typeface="Segoe UI Light" panose="020B0502040204020203" pitchFamily="34" charset="0"/>
                <a:cs typeface="Segoe UI Light" panose="020B0502040204020203" pitchFamily="34" charset="0"/>
              </a:rPr>
              <a:t>How to Evaluate the Results of Logistic Regression?</a:t>
            </a:r>
            <a:endParaRPr lang="en-US" dirty="0">
              <a:latin typeface="Segoe UI Light" panose="020B0502040204020203" pitchFamily="34" charset="0"/>
              <a:cs typeface="Segoe UI Light" panose="020B0502040204020203"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921831827"/>
              </p:ext>
            </p:extLst>
          </p:nvPr>
        </p:nvGraphicFramePr>
        <p:xfrm>
          <a:off x="1180214" y="1192241"/>
          <a:ext cx="9569302" cy="4469050"/>
        </p:xfrm>
        <a:graphic>
          <a:graphicData uri="http://schemas.openxmlformats.org/drawingml/2006/table">
            <a:tbl>
              <a:tblPr firstRow="1" bandRow="1"/>
              <a:tblGrid>
                <a:gridCol w="1783879">
                  <a:extLst>
                    <a:ext uri="{9D8B030D-6E8A-4147-A177-3AD203B41FA5}">
                      <a16:colId xmlns:a16="http://schemas.microsoft.com/office/drawing/2014/main" val="20000"/>
                    </a:ext>
                  </a:extLst>
                </a:gridCol>
                <a:gridCol w="3811791">
                  <a:extLst>
                    <a:ext uri="{9D8B030D-6E8A-4147-A177-3AD203B41FA5}">
                      <a16:colId xmlns:a16="http://schemas.microsoft.com/office/drawing/2014/main" val="20001"/>
                    </a:ext>
                  </a:extLst>
                </a:gridCol>
                <a:gridCol w="3973632">
                  <a:extLst>
                    <a:ext uri="{9D8B030D-6E8A-4147-A177-3AD203B41FA5}">
                      <a16:colId xmlns:a16="http://schemas.microsoft.com/office/drawing/2014/main" val="20002"/>
                    </a:ext>
                  </a:extLst>
                </a:gridCol>
              </a:tblGrid>
              <a:tr h="802035">
                <a:tc>
                  <a:txBody>
                    <a:bodyPr/>
                    <a:lstStyle>
                      <a:lvl1pPr marL="0" algn="l" defTabSz="686660" rtl="0" eaLnBrk="1" latinLnBrk="0" hangingPunct="1">
                        <a:defRPr sz="1352" b="1" kern="1200">
                          <a:solidFill>
                            <a:schemeClr val="lt1"/>
                          </a:solidFill>
                          <a:latin typeface="Calibri"/>
                        </a:defRPr>
                      </a:lvl1pPr>
                      <a:lvl2pPr marL="343330" algn="l" defTabSz="686660" rtl="0" eaLnBrk="1" latinLnBrk="0" hangingPunct="1">
                        <a:defRPr sz="1352" b="1" kern="1200">
                          <a:solidFill>
                            <a:schemeClr val="lt1"/>
                          </a:solidFill>
                          <a:latin typeface="Calibri"/>
                        </a:defRPr>
                      </a:lvl2pPr>
                      <a:lvl3pPr marL="686660" algn="l" defTabSz="686660" rtl="0" eaLnBrk="1" latinLnBrk="0" hangingPunct="1">
                        <a:defRPr sz="1352" b="1" kern="1200">
                          <a:solidFill>
                            <a:schemeClr val="lt1"/>
                          </a:solidFill>
                          <a:latin typeface="Calibri"/>
                        </a:defRPr>
                      </a:lvl3pPr>
                      <a:lvl4pPr marL="1029991" algn="l" defTabSz="686660" rtl="0" eaLnBrk="1" latinLnBrk="0" hangingPunct="1">
                        <a:defRPr sz="1352" b="1" kern="1200">
                          <a:solidFill>
                            <a:schemeClr val="lt1"/>
                          </a:solidFill>
                          <a:latin typeface="Calibri"/>
                        </a:defRPr>
                      </a:lvl4pPr>
                      <a:lvl5pPr marL="1373321" algn="l" defTabSz="686660" rtl="0" eaLnBrk="1" latinLnBrk="0" hangingPunct="1">
                        <a:defRPr sz="1352" b="1" kern="1200">
                          <a:solidFill>
                            <a:schemeClr val="lt1"/>
                          </a:solidFill>
                          <a:latin typeface="Calibri"/>
                        </a:defRPr>
                      </a:lvl5pPr>
                      <a:lvl6pPr marL="1716652" algn="l" defTabSz="686660" rtl="0" eaLnBrk="1" latinLnBrk="0" hangingPunct="1">
                        <a:defRPr sz="1352" b="1" kern="1200">
                          <a:solidFill>
                            <a:schemeClr val="lt1"/>
                          </a:solidFill>
                          <a:latin typeface="Calibri"/>
                        </a:defRPr>
                      </a:lvl6pPr>
                      <a:lvl7pPr marL="2059982" algn="l" defTabSz="686660" rtl="0" eaLnBrk="1" latinLnBrk="0" hangingPunct="1">
                        <a:defRPr sz="1352" b="1" kern="1200">
                          <a:solidFill>
                            <a:schemeClr val="lt1"/>
                          </a:solidFill>
                          <a:latin typeface="Calibri"/>
                        </a:defRPr>
                      </a:lvl7pPr>
                      <a:lvl8pPr marL="2403312" algn="l" defTabSz="686660" rtl="0" eaLnBrk="1" latinLnBrk="0" hangingPunct="1">
                        <a:defRPr sz="1352" b="1" kern="1200">
                          <a:solidFill>
                            <a:schemeClr val="lt1"/>
                          </a:solidFill>
                          <a:latin typeface="Calibri"/>
                        </a:defRPr>
                      </a:lvl8pPr>
                      <a:lvl9pPr marL="2746643" algn="l" defTabSz="686660" rtl="0" eaLnBrk="1" latinLnBrk="0" hangingPunct="1">
                        <a:defRPr sz="1352" b="1" kern="1200">
                          <a:solidFill>
                            <a:schemeClr val="lt1"/>
                          </a:solidFill>
                          <a:latin typeface="Calibri"/>
                        </a:defRPr>
                      </a:lvl9pPr>
                    </a:lstStyle>
                    <a:p>
                      <a:pPr algn="ctr"/>
                      <a:r>
                        <a:rPr lang="en-US" sz="1600" b="1" i="0" dirty="0">
                          <a:latin typeface="+mn-lt"/>
                        </a:rPr>
                        <a:t>Model Evaluation</a:t>
                      </a:r>
                      <a:r>
                        <a:rPr lang="en-US" sz="1600" b="1" i="0" baseline="0" dirty="0">
                          <a:latin typeface="+mn-lt"/>
                        </a:rPr>
                        <a:t> Method</a:t>
                      </a:r>
                      <a:endParaRPr lang="en-US" sz="1600" b="1" i="0" dirty="0">
                        <a:latin typeface="+mn-lt"/>
                      </a:endParaRPr>
                    </a:p>
                  </a:txBody>
                  <a:tcPr marL="89834" marR="89834" marT="35933" marB="35933"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686660" rtl="0" eaLnBrk="1" latinLnBrk="0" hangingPunct="1">
                        <a:defRPr sz="1352" b="1" kern="1200">
                          <a:solidFill>
                            <a:schemeClr val="lt1"/>
                          </a:solidFill>
                          <a:latin typeface="Calibri"/>
                        </a:defRPr>
                      </a:lvl1pPr>
                      <a:lvl2pPr marL="343330" algn="l" defTabSz="686660" rtl="0" eaLnBrk="1" latinLnBrk="0" hangingPunct="1">
                        <a:defRPr sz="1352" b="1" kern="1200">
                          <a:solidFill>
                            <a:schemeClr val="lt1"/>
                          </a:solidFill>
                          <a:latin typeface="Calibri"/>
                        </a:defRPr>
                      </a:lvl2pPr>
                      <a:lvl3pPr marL="686660" algn="l" defTabSz="686660" rtl="0" eaLnBrk="1" latinLnBrk="0" hangingPunct="1">
                        <a:defRPr sz="1352" b="1" kern="1200">
                          <a:solidFill>
                            <a:schemeClr val="lt1"/>
                          </a:solidFill>
                          <a:latin typeface="Calibri"/>
                        </a:defRPr>
                      </a:lvl3pPr>
                      <a:lvl4pPr marL="1029991" algn="l" defTabSz="686660" rtl="0" eaLnBrk="1" latinLnBrk="0" hangingPunct="1">
                        <a:defRPr sz="1352" b="1" kern="1200">
                          <a:solidFill>
                            <a:schemeClr val="lt1"/>
                          </a:solidFill>
                          <a:latin typeface="Calibri"/>
                        </a:defRPr>
                      </a:lvl4pPr>
                      <a:lvl5pPr marL="1373321" algn="l" defTabSz="686660" rtl="0" eaLnBrk="1" latinLnBrk="0" hangingPunct="1">
                        <a:defRPr sz="1352" b="1" kern="1200">
                          <a:solidFill>
                            <a:schemeClr val="lt1"/>
                          </a:solidFill>
                          <a:latin typeface="Calibri"/>
                        </a:defRPr>
                      </a:lvl5pPr>
                      <a:lvl6pPr marL="1716652" algn="l" defTabSz="686660" rtl="0" eaLnBrk="1" latinLnBrk="0" hangingPunct="1">
                        <a:defRPr sz="1352" b="1" kern="1200">
                          <a:solidFill>
                            <a:schemeClr val="lt1"/>
                          </a:solidFill>
                          <a:latin typeface="Calibri"/>
                        </a:defRPr>
                      </a:lvl6pPr>
                      <a:lvl7pPr marL="2059982" algn="l" defTabSz="686660" rtl="0" eaLnBrk="1" latinLnBrk="0" hangingPunct="1">
                        <a:defRPr sz="1352" b="1" kern="1200">
                          <a:solidFill>
                            <a:schemeClr val="lt1"/>
                          </a:solidFill>
                          <a:latin typeface="Calibri"/>
                        </a:defRPr>
                      </a:lvl7pPr>
                      <a:lvl8pPr marL="2403312" algn="l" defTabSz="686660" rtl="0" eaLnBrk="1" latinLnBrk="0" hangingPunct="1">
                        <a:defRPr sz="1352" b="1" kern="1200">
                          <a:solidFill>
                            <a:schemeClr val="lt1"/>
                          </a:solidFill>
                          <a:latin typeface="Calibri"/>
                        </a:defRPr>
                      </a:lvl8pPr>
                      <a:lvl9pPr marL="2746643" algn="l" defTabSz="686660" rtl="0" eaLnBrk="1" latinLnBrk="0" hangingPunct="1">
                        <a:defRPr sz="1352" b="1" kern="1200">
                          <a:solidFill>
                            <a:schemeClr val="lt1"/>
                          </a:solidFill>
                          <a:latin typeface="Calibri"/>
                        </a:defRPr>
                      </a:lvl9pPr>
                    </a:lstStyle>
                    <a:p>
                      <a:pPr algn="ctr"/>
                      <a:r>
                        <a:rPr lang="en-US" sz="1600" b="1" i="0" dirty="0">
                          <a:latin typeface="+mn-lt"/>
                        </a:rPr>
                        <a:t>Measure</a:t>
                      </a:r>
                    </a:p>
                  </a:txBody>
                  <a:tcPr marL="89834" marR="89834" marT="35933" marB="35933"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686660" rtl="0" eaLnBrk="1" latinLnBrk="0" hangingPunct="1">
                        <a:defRPr sz="1352" b="1" kern="1200">
                          <a:solidFill>
                            <a:schemeClr val="lt1"/>
                          </a:solidFill>
                          <a:latin typeface="Calibri"/>
                        </a:defRPr>
                      </a:lvl1pPr>
                      <a:lvl2pPr marL="343330" algn="l" defTabSz="686660" rtl="0" eaLnBrk="1" latinLnBrk="0" hangingPunct="1">
                        <a:defRPr sz="1352" b="1" kern="1200">
                          <a:solidFill>
                            <a:schemeClr val="lt1"/>
                          </a:solidFill>
                          <a:latin typeface="Calibri"/>
                        </a:defRPr>
                      </a:lvl2pPr>
                      <a:lvl3pPr marL="686660" algn="l" defTabSz="686660" rtl="0" eaLnBrk="1" latinLnBrk="0" hangingPunct="1">
                        <a:defRPr sz="1352" b="1" kern="1200">
                          <a:solidFill>
                            <a:schemeClr val="lt1"/>
                          </a:solidFill>
                          <a:latin typeface="Calibri"/>
                        </a:defRPr>
                      </a:lvl3pPr>
                      <a:lvl4pPr marL="1029991" algn="l" defTabSz="686660" rtl="0" eaLnBrk="1" latinLnBrk="0" hangingPunct="1">
                        <a:defRPr sz="1352" b="1" kern="1200">
                          <a:solidFill>
                            <a:schemeClr val="lt1"/>
                          </a:solidFill>
                          <a:latin typeface="Calibri"/>
                        </a:defRPr>
                      </a:lvl4pPr>
                      <a:lvl5pPr marL="1373321" algn="l" defTabSz="686660" rtl="0" eaLnBrk="1" latinLnBrk="0" hangingPunct="1">
                        <a:defRPr sz="1352" b="1" kern="1200">
                          <a:solidFill>
                            <a:schemeClr val="lt1"/>
                          </a:solidFill>
                          <a:latin typeface="Calibri"/>
                        </a:defRPr>
                      </a:lvl5pPr>
                      <a:lvl6pPr marL="1716652" algn="l" defTabSz="686660" rtl="0" eaLnBrk="1" latinLnBrk="0" hangingPunct="1">
                        <a:defRPr sz="1352" b="1" kern="1200">
                          <a:solidFill>
                            <a:schemeClr val="lt1"/>
                          </a:solidFill>
                          <a:latin typeface="Calibri"/>
                        </a:defRPr>
                      </a:lvl6pPr>
                      <a:lvl7pPr marL="2059982" algn="l" defTabSz="686660" rtl="0" eaLnBrk="1" latinLnBrk="0" hangingPunct="1">
                        <a:defRPr sz="1352" b="1" kern="1200">
                          <a:solidFill>
                            <a:schemeClr val="lt1"/>
                          </a:solidFill>
                          <a:latin typeface="Calibri"/>
                        </a:defRPr>
                      </a:lvl7pPr>
                      <a:lvl8pPr marL="2403312" algn="l" defTabSz="686660" rtl="0" eaLnBrk="1" latinLnBrk="0" hangingPunct="1">
                        <a:defRPr sz="1352" b="1" kern="1200">
                          <a:solidFill>
                            <a:schemeClr val="lt1"/>
                          </a:solidFill>
                          <a:latin typeface="Calibri"/>
                        </a:defRPr>
                      </a:lvl8pPr>
                      <a:lvl9pPr marL="2746643" algn="l" defTabSz="686660" rtl="0" eaLnBrk="1" latinLnBrk="0" hangingPunct="1">
                        <a:defRPr sz="1352" b="1" kern="1200">
                          <a:solidFill>
                            <a:schemeClr val="lt1"/>
                          </a:solidFill>
                          <a:latin typeface="Calibri"/>
                        </a:defRPr>
                      </a:lvl9pPr>
                    </a:lstStyle>
                    <a:p>
                      <a:pPr algn="ctr"/>
                      <a:r>
                        <a:rPr lang="en-US" sz="1600" b="1" i="0" dirty="0">
                          <a:latin typeface="+mn-lt"/>
                        </a:rPr>
                        <a:t>Result Interpretation </a:t>
                      </a:r>
                    </a:p>
                  </a:txBody>
                  <a:tcPr marL="89834" marR="89834" marT="35933" marB="35933"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573857">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1" i="0" dirty="0">
                          <a:solidFill>
                            <a:srgbClr val="505150"/>
                          </a:solidFill>
                          <a:latin typeface="+mn-lt"/>
                        </a:rPr>
                        <a:t>Overall model</a:t>
                      </a:r>
                      <a:r>
                        <a:rPr lang="en-US" sz="1100" b="1" i="0" baseline="0" dirty="0">
                          <a:solidFill>
                            <a:srgbClr val="505150"/>
                          </a:solidFill>
                          <a:latin typeface="+mn-lt"/>
                        </a:rPr>
                        <a:t> fit</a:t>
                      </a:r>
                      <a:endParaRPr lang="en-US" sz="1100" b="1"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baseline="0" dirty="0">
                          <a:solidFill>
                            <a:srgbClr val="505150"/>
                          </a:solidFill>
                          <a:latin typeface="+mn-lt"/>
                        </a:rPr>
                        <a:t>P-Value for difference between null model -2 Log Likelihood and full model -2 Log Likelihood measured by Chi Squared statistic </a:t>
                      </a:r>
                      <a:endParaRPr lang="en-US" sz="1100" b="0"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dirty="0">
                          <a:solidFill>
                            <a:srgbClr val="505150"/>
                          </a:solidFill>
                          <a:latin typeface="+mn-lt"/>
                        </a:rPr>
                        <a:t>If </a:t>
                      </a:r>
                      <a:r>
                        <a:rPr lang="en-US" sz="1100" b="1" i="0" dirty="0">
                          <a:solidFill>
                            <a:srgbClr val="505150"/>
                          </a:solidFill>
                          <a:latin typeface="+mn-lt"/>
                        </a:rPr>
                        <a:t>P</a:t>
                      </a:r>
                      <a:r>
                        <a:rPr lang="en-US" sz="1100" b="1" i="0" baseline="0" dirty="0">
                          <a:solidFill>
                            <a:srgbClr val="505150"/>
                          </a:solidFill>
                          <a:latin typeface="+mn-lt"/>
                        </a:rPr>
                        <a:t>&lt;0.05 </a:t>
                      </a:r>
                      <a:r>
                        <a:rPr lang="en-US" sz="1100" b="0" i="0" dirty="0">
                          <a:solidFill>
                            <a:srgbClr val="505150"/>
                          </a:solidFill>
                          <a:latin typeface="+mn-lt"/>
                        </a:rPr>
                        <a:t>then there is evidence that at least one of the independent variables contributes to the prediction of the outcome.</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741187">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1" i="0" dirty="0">
                          <a:solidFill>
                            <a:srgbClr val="505150"/>
                          </a:solidFill>
                          <a:latin typeface="+mn-lt"/>
                        </a:rPr>
                        <a:t>Strength of association</a:t>
                      </a:r>
                      <a:r>
                        <a:rPr lang="en-US" sz="1100" b="1" i="0" baseline="0" dirty="0">
                          <a:solidFill>
                            <a:srgbClr val="505150"/>
                          </a:solidFill>
                          <a:latin typeface="+mn-lt"/>
                        </a:rPr>
                        <a:t> </a:t>
                      </a:r>
                      <a:endParaRPr lang="en-US" sz="1100" b="1"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dirty="0">
                          <a:solidFill>
                            <a:srgbClr val="505150"/>
                          </a:solidFill>
                          <a:latin typeface="+mn-lt"/>
                        </a:rPr>
                        <a:t>Pseudo—R-Square measures as an approximate variance in the outcome accounted for by the model </a:t>
                      </a:r>
                    </a:p>
                    <a:p>
                      <a:endParaRPr lang="en-US" sz="1100" b="0"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baseline="0" dirty="0">
                          <a:solidFill>
                            <a:srgbClr val="505150"/>
                          </a:solidFill>
                          <a:latin typeface="+mn-lt"/>
                        </a:rPr>
                        <a:t>E.g. </a:t>
                      </a:r>
                      <a:r>
                        <a:rPr lang="en-US" sz="1100" b="0" i="0" dirty="0">
                          <a:solidFill>
                            <a:srgbClr val="505150"/>
                          </a:solidFill>
                          <a:latin typeface="+mn-lt"/>
                        </a:rPr>
                        <a:t>McFadden: measures variances accounted for - this value tends to be smaller than R-square and values of 0.2 to 0.4 are considered highly satisfactory</a:t>
                      </a:r>
                    </a:p>
                    <a:p>
                      <a:endParaRPr lang="en-US" sz="1100" b="0"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75848">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1" i="0" dirty="0">
                          <a:solidFill>
                            <a:srgbClr val="505150"/>
                          </a:solidFill>
                          <a:latin typeface="+mn-lt"/>
                        </a:rPr>
                        <a:t>Regression coefficients</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dirty="0">
                          <a:solidFill>
                            <a:srgbClr val="505150"/>
                          </a:solidFill>
                          <a:latin typeface="+mn-lt"/>
                        </a:rPr>
                        <a:t>P-Value</a:t>
                      </a:r>
                      <a:r>
                        <a:rPr lang="en-US" sz="1100" b="0" i="0" baseline="0" dirty="0">
                          <a:solidFill>
                            <a:srgbClr val="505150"/>
                          </a:solidFill>
                          <a:latin typeface="+mn-lt"/>
                        </a:rPr>
                        <a:t> of regression coefficients </a:t>
                      </a:r>
                      <a:endParaRPr lang="en-US" sz="1100" b="0"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dirty="0">
                          <a:solidFill>
                            <a:srgbClr val="505150"/>
                          </a:solidFill>
                          <a:latin typeface="+mn-lt"/>
                        </a:rPr>
                        <a:t>If P&lt;0.05 then the variable contributes significantly to the prediction of the outcome variable;</a:t>
                      </a:r>
                      <a:r>
                        <a:rPr lang="en-US" sz="1100" b="0" i="0" baseline="0" dirty="0">
                          <a:solidFill>
                            <a:srgbClr val="505150"/>
                          </a:solidFill>
                          <a:latin typeface="+mn-lt"/>
                        </a:rPr>
                        <a:t> </a:t>
                      </a:r>
                    </a:p>
                    <a:p>
                      <a:r>
                        <a:rPr lang="en-US" sz="1100" b="0" i="0" dirty="0">
                          <a:solidFill>
                            <a:srgbClr val="505150"/>
                          </a:solidFill>
                          <a:latin typeface="+mn-lt"/>
                        </a:rPr>
                        <a:t>The logistic regression coefficients show the change (increase when bi&gt;0, decrease when bi&lt;0) in the predicted logged odds of having the characteristic of interest for a one-unit change in the independent variables</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3"/>
                  </a:ext>
                </a:extLst>
              </a:tr>
              <a:tr h="1268531">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1" i="0" dirty="0">
                          <a:solidFill>
                            <a:srgbClr val="505150"/>
                          </a:solidFill>
                          <a:latin typeface="+mn-lt"/>
                        </a:rPr>
                        <a:t>Classification</a:t>
                      </a:r>
                      <a:r>
                        <a:rPr lang="en-US" sz="1100" b="1" i="0" baseline="0" dirty="0">
                          <a:solidFill>
                            <a:srgbClr val="505150"/>
                          </a:solidFill>
                          <a:latin typeface="+mn-lt"/>
                        </a:rPr>
                        <a:t> evaluation </a:t>
                      </a:r>
                      <a:endParaRPr lang="en-US" sz="1100" b="1" i="0" dirty="0">
                        <a:solidFill>
                          <a:srgbClr val="505150"/>
                        </a:solidFill>
                        <a:latin typeface="+mn-lt"/>
                      </a:endParaRP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dirty="0">
                          <a:solidFill>
                            <a:srgbClr val="505150"/>
                          </a:solidFill>
                          <a:latin typeface="+mn-lt"/>
                        </a:rPr>
                        <a:t>ROC curve for illustrating</a:t>
                      </a:r>
                      <a:r>
                        <a:rPr lang="en-US" sz="1100" b="0" i="0" baseline="0" dirty="0">
                          <a:solidFill>
                            <a:srgbClr val="505150"/>
                          </a:solidFill>
                          <a:latin typeface="+mn-lt"/>
                        </a:rPr>
                        <a:t> the performance of the binary classifier; </a:t>
                      </a:r>
                    </a:p>
                    <a:p>
                      <a:r>
                        <a:rPr lang="en-US" sz="1100" b="0" i="0" baseline="0" dirty="0">
                          <a:solidFill>
                            <a:srgbClr val="505150"/>
                          </a:solidFill>
                          <a:latin typeface="+mn-lt"/>
                        </a:rPr>
                        <a:t>ROC measures: </a:t>
                      </a:r>
                    </a:p>
                    <a:p>
                      <a:pPr marL="180975" lvl="1" indent="-180975" algn="l" defTabSz="457200" rtl="0" eaLnBrk="0" fontAlgn="base" hangingPunct="0">
                        <a:spcBef>
                          <a:spcPts val="0"/>
                        </a:spcBef>
                        <a:spcAft>
                          <a:spcPts val="200"/>
                        </a:spcAft>
                        <a:buClr>
                          <a:srgbClr val="00BDF2"/>
                        </a:buClr>
                        <a:buSzPct val="110000"/>
                        <a:buFont typeface="Arial" charset="0"/>
                        <a:buChar char="•"/>
                        <a:defRPr/>
                      </a:pPr>
                      <a:r>
                        <a:rPr lang="en-US" sz="1100" b="0" i="0" kern="1200" dirty="0">
                          <a:solidFill>
                            <a:srgbClr val="505150"/>
                          </a:solidFill>
                          <a:latin typeface="+mn-lt"/>
                          <a:ea typeface="ＭＳ Ｐゴシック" charset="-128"/>
                          <a:cs typeface="Arial"/>
                        </a:rPr>
                        <a:t>AUC (Area under curve) </a:t>
                      </a:r>
                    </a:p>
                    <a:p>
                      <a:pPr marL="180975" lvl="1" indent="-180975" algn="l" defTabSz="457200" rtl="0" eaLnBrk="0" fontAlgn="base" hangingPunct="0">
                        <a:spcBef>
                          <a:spcPts val="0"/>
                        </a:spcBef>
                        <a:spcAft>
                          <a:spcPts val="200"/>
                        </a:spcAft>
                        <a:buClr>
                          <a:srgbClr val="00BDF2"/>
                        </a:buClr>
                        <a:buSzPct val="110000"/>
                        <a:buFont typeface="Arial" charset="0"/>
                        <a:buChar char="•"/>
                        <a:defRPr/>
                      </a:pPr>
                      <a:r>
                        <a:rPr lang="en-US" sz="1100" b="0" i="0" kern="1200" dirty="0">
                          <a:solidFill>
                            <a:srgbClr val="505150"/>
                          </a:solidFill>
                          <a:latin typeface="+mn-lt"/>
                          <a:ea typeface="ＭＳ Ｐゴシック" charset="-128"/>
                          <a:cs typeface="Arial"/>
                        </a:rPr>
                        <a:t>Gini coefficient </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6660" rtl="0" eaLnBrk="1" latinLnBrk="0" hangingPunct="1">
                        <a:defRPr sz="1352" kern="1200">
                          <a:solidFill>
                            <a:schemeClr val="dk1"/>
                          </a:solidFill>
                          <a:latin typeface="Calibri"/>
                        </a:defRPr>
                      </a:lvl1pPr>
                      <a:lvl2pPr marL="343330" algn="l" defTabSz="686660" rtl="0" eaLnBrk="1" latinLnBrk="0" hangingPunct="1">
                        <a:defRPr sz="1352" kern="1200">
                          <a:solidFill>
                            <a:schemeClr val="dk1"/>
                          </a:solidFill>
                          <a:latin typeface="Calibri"/>
                        </a:defRPr>
                      </a:lvl2pPr>
                      <a:lvl3pPr marL="686660" algn="l" defTabSz="686660" rtl="0" eaLnBrk="1" latinLnBrk="0" hangingPunct="1">
                        <a:defRPr sz="1352" kern="1200">
                          <a:solidFill>
                            <a:schemeClr val="dk1"/>
                          </a:solidFill>
                          <a:latin typeface="Calibri"/>
                        </a:defRPr>
                      </a:lvl3pPr>
                      <a:lvl4pPr marL="1029991" algn="l" defTabSz="686660" rtl="0" eaLnBrk="1" latinLnBrk="0" hangingPunct="1">
                        <a:defRPr sz="1352" kern="1200">
                          <a:solidFill>
                            <a:schemeClr val="dk1"/>
                          </a:solidFill>
                          <a:latin typeface="Calibri"/>
                        </a:defRPr>
                      </a:lvl4pPr>
                      <a:lvl5pPr marL="1373321" algn="l" defTabSz="686660" rtl="0" eaLnBrk="1" latinLnBrk="0" hangingPunct="1">
                        <a:defRPr sz="1352" kern="1200">
                          <a:solidFill>
                            <a:schemeClr val="dk1"/>
                          </a:solidFill>
                          <a:latin typeface="Calibri"/>
                        </a:defRPr>
                      </a:lvl5pPr>
                      <a:lvl6pPr marL="1716652" algn="l" defTabSz="686660" rtl="0" eaLnBrk="1" latinLnBrk="0" hangingPunct="1">
                        <a:defRPr sz="1352" kern="1200">
                          <a:solidFill>
                            <a:schemeClr val="dk1"/>
                          </a:solidFill>
                          <a:latin typeface="Calibri"/>
                        </a:defRPr>
                      </a:lvl6pPr>
                      <a:lvl7pPr marL="2059982" algn="l" defTabSz="686660" rtl="0" eaLnBrk="1" latinLnBrk="0" hangingPunct="1">
                        <a:defRPr sz="1352" kern="1200">
                          <a:solidFill>
                            <a:schemeClr val="dk1"/>
                          </a:solidFill>
                          <a:latin typeface="Calibri"/>
                        </a:defRPr>
                      </a:lvl7pPr>
                      <a:lvl8pPr marL="2403312" algn="l" defTabSz="686660" rtl="0" eaLnBrk="1" latinLnBrk="0" hangingPunct="1">
                        <a:defRPr sz="1352" kern="1200">
                          <a:solidFill>
                            <a:schemeClr val="dk1"/>
                          </a:solidFill>
                          <a:latin typeface="Calibri"/>
                        </a:defRPr>
                      </a:lvl8pPr>
                      <a:lvl9pPr marL="2746643" algn="l" defTabSz="686660" rtl="0" eaLnBrk="1" latinLnBrk="0" hangingPunct="1">
                        <a:defRPr sz="1352" kern="1200">
                          <a:solidFill>
                            <a:schemeClr val="dk1"/>
                          </a:solidFill>
                          <a:latin typeface="Calibri"/>
                        </a:defRPr>
                      </a:lvl9pPr>
                    </a:lstStyle>
                    <a:p>
                      <a:r>
                        <a:rPr lang="en-US" sz="1100" b="0" i="0" dirty="0">
                          <a:solidFill>
                            <a:srgbClr val="505150"/>
                          </a:solidFill>
                          <a:latin typeface="+mn-lt"/>
                        </a:rPr>
                        <a:t>ROC as a model selection tool:</a:t>
                      </a:r>
                      <a:r>
                        <a:rPr lang="en-US" sz="1100" b="0" i="0" baseline="0" dirty="0">
                          <a:solidFill>
                            <a:srgbClr val="505150"/>
                          </a:solidFill>
                          <a:latin typeface="+mn-lt"/>
                        </a:rPr>
                        <a:t> </a:t>
                      </a:r>
                    </a:p>
                    <a:p>
                      <a:pPr marL="180975" lvl="1" indent="-180975" algn="l" defTabSz="457200" rtl="0" eaLnBrk="0" fontAlgn="base" hangingPunct="0">
                        <a:spcBef>
                          <a:spcPts val="0"/>
                        </a:spcBef>
                        <a:spcAft>
                          <a:spcPts val="200"/>
                        </a:spcAft>
                        <a:buClr>
                          <a:srgbClr val="00BDF2"/>
                        </a:buClr>
                        <a:buSzPct val="110000"/>
                        <a:buFont typeface="Arial" charset="0"/>
                        <a:buChar char="•"/>
                        <a:defRPr/>
                      </a:pPr>
                      <a:r>
                        <a:rPr lang="en-US" sz="1100" b="0" i="0" kern="1200" dirty="0">
                          <a:solidFill>
                            <a:srgbClr val="505150"/>
                          </a:solidFill>
                          <a:latin typeface="+mn-lt"/>
                          <a:ea typeface="ＭＳ Ｐゴシック" charset="-128"/>
                          <a:cs typeface="Arial"/>
                        </a:rPr>
                        <a:t>AUC is equal to the probability that a classifier will rank a randomly chosen positive instance higher than a randomly chosen negative one</a:t>
                      </a:r>
                    </a:p>
                    <a:p>
                      <a:pPr marL="180975" lvl="1" indent="-180975" algn="l" defTabSz="457200" rtl="0" eaLnBrk="0" fontAlgn="base" hangingPunct="0">
                        <a:spcBef>
                          <a:spcPts val="0"/>
                        </a:spcBef>
                        <a:spcAft>
                          <a:spcPts val="200"/>
                        </a:spcAft>
                        <a:buClr>
                          <a:srgbClr val="00BDF2"/>
                        </a:buClr>
                        <a:buSzPct val="110000"/>
                        <a:buFont typeface="Arial" charset="0"/>
                        <a:buChar char="•"/>
                        <a:defRPr/>
                      </a:pPr>
                      <a:r>
                        <a:rPr lang="en-US" sz="1100" b="0" i="0" kern="1200" dirty="0">
                          <a:solidFill>
                            <a:srgbClr val="505150"/>
                          </a:solidFill>
                          <a:latin typeface="+mn-lt"/>
                          <a:ea typeface="ＭＳ Ｐゴシック" charset="-128"/>
                          <a:cs typeface="Arial"/>
                        </a:rPr>
                        <a:t>The Gini coefficient measures the inequality among values of a frequency distribution: 0 represents chance performance whilst 1 represents perfect performance </a:t>
                      </a:r>
                    </a:p>
                  </a:txBody>
                  <a:tcPr marL="89834" marR="89834" marT="35933" marB="35933">
                    <a:lnL w="9525" cap="flat" cmpd="sng" algn="ctr">
                      <a:solidFill>
                        <a:sysClr val="window" lastClr="FFFFFF">
                          <a:lumMod val="85000"/>
                        </a:sysClr>
                      </a:solidFill>
                      <a:prstDash val="solid"/>
                      <a:round/>
                      <a:headEnd type="none" w="med" len="med"/>
                      <a:tailEnd type="none" w="med" len="med"/>
                    </a:lnL>
                    <a:lnR w="9525" cap="flat" cmpd="sng" algn="ctr">
                      <a:solidFill>
                        <a:sysClr val="window" lastClr="FFFFFF">
                          <a:lumMod val="85000"/>
                        </a:sysClr>
                      </a:solidFill>
                      <a:prstDash val="solid"/>
                      <a:round/>
                      <a:headEnd type="none" w="med" len="med"/>
                      <a:tailEnd type="none" w="med" len="med"/>
                    </a:lnR>
                    <a:lnT w="9525" cap="flat" cmpd="sng" algn="ctr">
                      <a:solidFill>
                        <a:sysClr val="window" lastClr="FFFFFF">
                          <a:lumMod val="85000"/>
                        </a:sysClr>
                      </a:solidFill>
                      <a:prstDash val="solid"/>
                      <a:round/>
                      <a:headEnd type="none" w="med" len="med"/>
                      <a:tailEnd type="none" w="med" len="med"/>
                    </a:lnT>
                    <a:lnB w="9525"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3847DB54-D037-B84F-B6F1-2E8DA40D09AD}" type="slidenum">
              <a:rPr lang="en-US" smtClean="0"/>
              <a:pPr/>
              <a:t>46</a:t>
            </a:fld>
            <a:endParaRPr lang="en-US"/>
          </a:p>
        </p:txBody>
      </p:sp>
    </p:spTree>
    <p:extLst>
      <p:ext uri="{BB962C8B-B14F-4D97-AF65-F5344CB8AC3E}">
        <p14:creationId xmlns:p14="http://schemas.microsoft.com/office/powerpoint/2010/main" val="281135756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458" y="3429001"/>
            <a:ext cx="12185085" cy="2315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7096" tIns="479963" rIns="822794" rtlCol="0" anchor="t" anchorCtr="0"/>
          <a:lstStyle/>
          <a:p>
            <a:pPr marL="448056" indent="-448056" defTabSz="447354">
              <a:buFont typeface="Wingdings" panose="05000000000000000000" pitchFamily="2" charset="2"/>
              <a:buChar char="§"/>
            </a:pPr>
            <a:r>
              <a:rPr lang="en-US" sz="2744" dirty="0">
                <a:solidFill>
                  <a:prstClr val="white"/>
                </a:solidFill>
              </a:rPr>
              <a:t>We have many trained models, how to evaluate them and CHOOSE the BEST one?</a:t>
            </a:r>
          </a:p>
          <a:p>
            <a:pPr defTabSz="447354"/>
            <a:endParaRPr lang="en-US" sz="2744" dirty="0">
              <a:solidFill>
                <a:prstClr val="white"/>
              </a:solidFill>
            </a:endParaRPr>
          </a:p>
        </p:txBody>
      </p:sp>
      <p:sp>
        <p:nvSpPr>
          <p:cNvPr id="7" name="TextBox 6"/>
          <p:cNvSpPr txBox="1"/>
          <p:nvPr/>
        </p:nvSpPr>
        <p:spPr>
          <a:xfrm>
            <a:off x="1017844" y="1412674"/>
            <a:ext cx="8221471" cy="1032346"/>
          </a:xfrm>
          <a:prstGeom prst="rect">
            <a:avLst/>
          </a:prstGeom>
          <a:noFill/>
        </p:spPr>
        <p:txBody>
          <a:bodyPr wrap="square" rtlCol="0">
            <a:spAutoFit/>
          </a:bodyPr>
          <a:lstStyle/>
          <a:p>
            <a:pPr defTabSz="455630"/>
            <a:r>
              <a:rPr lang="en-US" sz="5999" dirty="0">
                <a:solidFill>
                  <a:prstClr val="white"/>
                </a:solidFill>
              </a:rPr>
              <a:t>Evaluate Models</a:t>
            </a:r>
          </a:p>
        </p:txBody>
      </p:sp>
      <p:sp>
        <p:nvSpPr>
          <p:cNvPr id="2" name="Slide Number Placeholder 1"/>
          <p:cNvSpPr>
            <a:spLocks noGrp="1"/>
          </p:cNvSpPr>
          <p:nvPr>
            <p:ph type="sldNum" sz="quarter" idx="10"/>
          </p:nvPr>
        </p:nvSpPr>
        <p:spPr/>
        <p:txBody>
          <a:bodyPr/>
          <a:lstStyle/>
          <a:p>
            <a:fld id="{5FF2E63E-D57D-4EFD-8380-089500058C9E}" type="slidenum">
              <a:rPr lang="en-US" smtClean="0">
                <a:solidFill>
                  <a:srgbClr val="464646"/>
                </a:solidFill>
              </a:rPr>
              <a:pPr/>
              <a:t>47</a:t>
            </a:fld>
            <a:endParaRPr lang="en-US" dirty="0">
              <a:solidFill>
                <a:srgbClr val="464646"/>
              </a:solidFill>
            </a:endParaRPr>
          </a:p>
        </p:txBody>
      </p:sp>
    </p:spTree>
    <p:extLst>
      <p:ext uri="{BB962C8B-B14F-4D97-AF65-F5344CB8AC3E}">
        <p14:creationId xmlns:p14="http://schemas.microsoft.com/office/powerpoint/2010/main" val="317065120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Model Evaluation </a:t>
            </a:r>
          </a:p>
        </p:txBody>
      </p:sp>
      <p:pic>
        <p:nvPicPr>
          <p:cNvPr id="3" name="Picture 2"/>
          <p:cNvPicPr>
            <a:picLocks noChangeAspect="1"/>
          </p:cNvPicPr>
          <p:nvPr/>
        </p:nvPicPr>
        <p:blipFill>
          <a:blip r:embed="rId2"/>
          <a:stretch>
            <a:fillRect/>
          </a:stretch>
        </p:blipFill>
        <p:spPr>
          <a:xfrm>
            <a:off x="1241880" y="1402414"/>
            <a:ext cx="2315042" cy="1387818"/>
          </a:xfrm>
          <a:prstGeom prst="rect">
            <a:avLst/>
          </a:prstGeom>
        </p:spPr>
      </p:pic>
      <p:sp>
        <p:nvSpPr>
          <p:cNvPr id="4" name="Rectangle 3"/>
          <p:cNvSpPr/>
          <p:nvPr/>
        </p:nvSpPr>
        <p:spPr>
          <a:xfrm>
            <a:off x="4530495" y="1937819"/>
            <a:ext cx="2452082" cy="461665"/>
          </a:xfrm>
          <a:prstGeom prst="rect">
            <a:avLst/>
          </a:prstGeom>
        </p:spPr>
        <p:txBody>
          <a:bodyPr wrap="none">
            <a:spAutoFit/>
          </a:bodyPr>
          <a:lstStyle/>
          <a:p>
            <a:pPr defTabSz="896112"/>
            <a:r>
              <a:rPr lang="en-US" sz="2400" dirty="0">
                <a:solidFill>
                  <a:srgbClr val="000000"/>
                </a:solidFill>
              </a:rPr>
              <a:t>Different Metrics</a:t>
            </a:r>
            <a:endParaRPr lang="en-US" sz="2400" dirty="0">
              <a:solidFill>
                <a:srgbClr val="005CB9"/>
              </a:solidFill>
            </a:endParaRPr>
          </a:p>
        </p:txBody>
      </p:sp>
      <p:pic>
        <p:nvPicPr>
          <p:cNvPr id="5" name="Picture 4"/>
          <p:cNvPicPr>
            <a:picLocks noChangeAspect="1"/>
          </p:cNvPicPr>
          <p:nvPr/>
        </p:nvPicPr>
        <p:blipFill>
          <a:blip r:embed="rId3">
            <a:duotone>
              <a:schemeClr val="accent2">
                <a:shade val="45000"/>
                <a:satMod val="135000"/>
              </a:schemeClr>
              <a:prstClr val="white"/>
            </a:duotone>
          </a:blip>
          <a:stretch>
            <a:fillRect/>
          </a:stretch>
        </p:blipFill>
        <p:spPr>
          <a:xfrm>
            <a:off x="8037648" y="1402414"/>
            <a:ext cx="2613756" cy="1387818"/>
          </a:xfrm>
          <a:prstGeom prst="rect">
            <a:avLst/>
          </a:prstGeom>
        </p:spPr>
      </p:pic>
      <p:sp>
        <p:nvSpPr>
          <p:cNvPr id="8" name="Rectangle 7"/>
          <p:cNvSpPr/>
          <p:nvPr/>
        </p:nvSpPr>
        <p:spPr>
          <a:xfrm>
            <a:off x="2138025" y="2953927"/>
            <a:ext cx="9229893" cy="461665"/>
          </a:xfrm>
          <a:prstGeom prst="rect">
            <a:avLst/>
          </a:prstGeom>
        </p:spPr>
        <p:txBody>
          <a:bodyPr wrap="square">
            <a:spAutoFit/>
          </a:bodyPr>
          <a:lstStyle/>
          <a:p>
            <a:pPr defTabSz="896112"/>
            <a:r>
              <a:rPr lang="en-US" sz="2400" dirty="0">
                <a:solidFill>
                  <a:srgbClr val="000000"/>
                </a:solidFill>
              </a:rPr>
              <a:t>Different Priorities when evaluating as “good” or “bad”</a:t>
            </a:r>
            <a:endParaRPr lang="en-US" sz="2400" dirty="0">
              <a:solidFill>
                <a:srgbClr val="005CB9"/>
              </a:solidFill>
            </a:endParaRPr>
          </a:p>
        </p:txBody>
      </p:sp>
      <p:pic>
        <p:nvPicPr>
          <p:cNvPr id="9" name="Picture 8"/>
          <p:cNvPicPr>
            <a:picLocks noChangeAspect="1"/>
          </p:cNvPicPr>
          <p:nvPr/>
        </p:nvPicPr>
        <p:blipFill>
          <a:blip r:embed="rId4"/>
          <a:stretch>
            <a:fillRect/>
          </a:stretch>
        </p:blipFill>
        <p:spPr>
          <a:xfrm>
            <a:off x="1244708" y="3610596"/>
            <a:ext cx="2016327" cy="1610695"/>
          </a:xfrm>
          <a:prstGeom prst="rect">
            <a:avLst/>
          </a:prstGeom>
        </p:spPr>
      </p:pic>
      <p:pic>
        <p:nvPicPr>
          <p:cNvPr id="10" name="Picture 9"/>
          <p:cNvPicPr>
            <a:picLocks noChangeAspect="1"/>
          </p:cNvPicPr>
          <p:nvPr/>
        </p:nvPicPr>
        <p:blipFill>
          <a:blip r:embed="rId5"/>
          <a:stretch>
            <a:fillRect/>
          </a:stretch>
        </p:blipFill>
        <p:spPr>
          <a:xfrm>
            <a:off x="8798891" y="3624740"/>
            <a:ext cx="1848553" cy="1633020"/>
          </a:xfrm>
          <a:prstGeom prst="rect">
            <a:avLst/>
          </a:prstGeom>
        </p:spPr>
      </p:pic>
      <p:sp>
        <p:nvSpPr>
          <p:cNvPr id="11" name="Rectangle 10"/>
          <p:cNvSpPr/>
          <p:nvPr/>
        </p:nvSpPr>
        <p:spPr>
          <a:xfrm>
            <a:off x="4904937" y="3713648"/>
            <a:ext cx="1998432" cy="461665"/>
          </a:xfrm>
          <a:prstGeom prst="rect">
            <a:avLst/>
          </a:prstGeom>
        </p:spPr>
        <p:txBody>
          <a:bodyPr wrap="none">
            <a:spAutoFit/>
          </a:bodyPr>
          <a:lstStyle/>
          <a:p>
            <a:pPr defTabSz="896112"/>
            <a:r>
              <a:rPr lang="en-US" sz="2400" dirty="0">
                <a:solidFill>
                  <a:srgbClr val="000000"/>
                </a:solidFill>
              </a:rPr>
              <a:t>Unique Goals</a:t>
            </a:r>
            <a:endParaRPr lang="en-US" sz="2400" dirty="0">
              <a:solidFill>
                <a:srgbClr val="005CB9"/>
              </a:solidFill>
            </a:endParaRPr>
          </a:p>
        </p:txBody>
      </p:sp>
      <p:pic>
        <p:nvPicPr>
          <p:cNvPr id="12" name="Picture 11"/>
          <p:cNvPicPr>
            <a:picLocks noChangeAspect="1"/>
          </p:cNvPicPr>
          <p:nvPr/>
        </p:nvPicPr>
        <p:blipFill>
          <a:blip r:embed="rId6"/>
          <a:stretch>
            <a:fillRect/>
          </a:stretch>
        </p:blipFill>
        <p:spPr>
          <a:xfrm>
            <a:off x="5063820" y="4399825"/>
            <a:ext cx="2087208" cy="2027055"/>
          </a:xfrm>
          <a:prstGeom prst="rect">
            <a:avLst/>
          </a:prstGeom>
        </p:spPr>
      </p:pic>
      <p:sp>
        <p:nvSpPr>
          <p:cNvPr id="2" name="Slide Number Placeholder 1"/>
          <p:cNvSpPr>
            <a:spLocks noGrp="1"/>
          </p:cNvSpPr>
          <p:nvPr>
            <p:ph type="sldNum" sz="quarter" idx="12"/>
          </p:nvPr>
        </p:nvSpPr>
        <p:spPr/>
        <p:txBody>
          <a:bodyPr/>
          <a:lstStyle/>
          <a:p>
            <a:fld id="{3847DB54-D037-B84F-B6F1-2E8DA40D09AD}" type="slidenum">
              <a:rPr lang="en-US" smtClean="0"/>
              <a:pPr/>
              <a:t>48</a:t>
            </a:fld>
            <a:endParaRPr lang="en-US"/>
          </a:p>
        </p:txBody>
      </p:sp>
    </p:spTree>
    <p:extLst>
      <p:ext uri="{BB962C8B-B14F-4D97-AF65-F5344CB8AC3E}">
        <p14:creationId xmlns:p14="http://schemas.microsoft.com/office/powerpoint/2010/main" val="38333532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60792" y="390719"/>
            <a:ext cx="10270415" cy="498598"/>
          </a:xfrm>
          <a:prstGeom prst="rect">
            <a:avLst/>
          </a:prstGeom>
        </p:spPr>
        <p:txBody>
          <a:bodyPr vert="horz" wrap="square" lIns="0" tIns="0" rIns="0" bIns="0" numCol="1" rtlCol="0" anchor="t" anchorCtr="0" compatLnSpc="1">
            <a:prstTxWarp prst="textNoShape">
              <a:avLst/>
            </a:prstTxWarp>
            <a:spAutoFit/>
          </a:bodyPr>
          <a:lstStyle/>
          <a:p>
            <a:pPr marL="12700"/>
            <a:r>
              <a:rPr lang="en-US" spc="-5" dirty="0">
                <a:latin typeface="Segoe UI Light" panose="020B0502040204020203" pitchFamily="34" charset="0"/>
                <a:cs typeface="Segoe UI Light" panose="020B0502040204020203" pitchFamily="34" charset="0"/>
              </a:rPr>
              <a:t>Priorities and Goals</a:t>
            </a:r>
            <a:endParaRPr spc="-5" dirty="0">
              <a:latin typeface="Segoe UI Light" panose="020B0502040204020203" pitchFamily="34" charset="0"/>
              <a:cs typeface="Segoe UI Light" panose="020B0502040204020203" pitchFamily="34" charset="0"/>
            </a:endParaRPr>
          </a:p>
        </p:txBody>
      </p:sp>
      <p:sp>
        <p:nvSpPr>
          <p:cNvPr id="22" name="Rectangle 6"/>
          <p:cNvSpPr>
            <a:spLocks noChangeArrowheads="1"/>
          </p:cNvSpPr>
          <p:nvPr>
            <p:custDataLst>
              <p:tags r:id="rId1"/>
            </p:custDataLst>
          </p:nvPr>
        </p:nvSpPr>
        <p:spPr bwMode="auto">
          <a:xfrm>
            <a:off x="960793" y="1094672"/>
            <a:ext cx="5189723" cy="326729"/>
          </a:xfrm>
          <a:prstGeom prst="round2SameRect">
            <a:avLst/>
          </a:prstGeom>
          <a:solidFill>
            <a:schemeClr val="tx2"/>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sz="1400" b="1" dirty="0">
                <a:solidFill>
                  <a:srgbClr val="FFFFFF"/>
                </a:solidFill>
                <a:cs typeface="Calibri"/>
              </a:rPr>
              <a:t>Predict the patients with CANCER</a:t>
            </a:r>
          </a:p>
        </p:txBody>
      </p:sp>
      <p:sp>
        <p:nvSpPr>
          <p:cNvPr id="24" name="Rectangle 15"/>
          <p:cNvSpPr>
            <a:spLocks noChangeArrowheads="1"/>
          </p:cNvSpPr>
          <p:nvPr>
            <p:custDataLst>
              <p:tags r:id="rId2"/>
            </p:custDataLst>
          </p:nvPr>
        </p:nvSpPr>
        <p:spPr bwMode="auto">
          <a:xfrm>
            <a:off x="960792" y="1427328"/>
            <a:ext cx="5189724" cy="3573453"/>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8203" tIns="88203" rIns="88203" bIns="88203"/>
          <a:lstStyle/>
          <a:p>
            <a:pPr defTabSz="896112">
              <a:spcBef>
                <a:spcPts val="1176"/>
              </a:spcBef>
              <a:buClr>
                <a:srgbClr val="FDC82F"/>
              </a:buClr>
              <a:defRPr/>
            </a:pPr>
            <a:endParaRPr lang="nl-NL" sz="1274" dirty="0">
              <a:solidFill>
                <a:srgbClr val="005CB9">
                  <a:lumMod val="85000"/>
                  <a:lumOff val="15000"/>
                </a:srgbClr>
              </a:solidFill>
              <a:cs typeface="Calibri" pitchFamily="34" charset="0"/>
            </a:endParaRPr>
          </a:p>
        </p:txBody>
      </p:sp>
      <p:sp>
        <p:nvSpPr>
          <p:cNvPr id="28" name="Rectangle 6"/>
          <p:cNvSpPr>
            <a:spLocks noChangeArrowheads="1"/>
          </p:cNvSpPr>
          <p:nvPr>
            <p:custDataLst>
              <p:tags r:id="rId3"/>
            </p:custDataLst>
          </p:nvPr>
        </p:nvSpPr>
        <p:spPr bwMode="auto">
          <a:xfrm>
            <a:off x="6632103" y="1094672"/>
            <a:ext cx="5109380" cy="326729"/>
          </a:xfrm>
          <a:prstGeom prst="round2SameRect">
            <a:avLst/>
          </a:prstGeom>
          <a:solidFill>
            <a:schemeClr val="tx2"/>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lstStyle/>
          <a:p>
            <a:pPr algn="ctr" defTabSz="896112">
              <a:defRPr/>
            </a:pPr>
            <a:r>
              <a:rPr lang="en-GB" sz="1400" b="1" dirty="0">
                <a:solidFill>
                  <a:srgbClr val="FFFFFF"/>
                </a:solidFill>
                <a:cs typeface="Calibri"/>
              </a:rPr>
              <a:t>Predict the possible BIKE BUYERS</a:t>
            </a:r>
          </a:p>
        </p:txBody>
      </p:sp>
      <p:sp>
        <p:nvSpPr>
          <p:cNvPr id="30" name="Rectangle 15"/>
          <p:cNvSpPr>
            <a:spLocks noChangeArrowheads="1"/>
          </p:cNvSpPr>
          <p:nvPr>
            <p:custDataLst>
              <p:tags r:id="rId4"/>
            </p:custDataLst>
          </p:nvPr>
        </p:nvSpPr>
        <p:spPr bwMode="auto">
          <a:xfrm>
            <a:off x="6632103" y="1427328"/>
            <a:ext cx="5109380" cy="3573453"/>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88203" tIns="88203" rIns="88203" bIns="88203"/>
          <a:lstStyle/>
          <a:p>
            <a:pPr defTabSz="896112">
              <a:spcBef>
                <a:spcPts val="1176"/>
              </a:spcBef>
              <a:buClr>
                <a:srgbClr val="FDC82F"/>
              </a:buClr>
              <a:defRPr/>
            </a:pPr>
            <a:endParaRPr lang="en-US" sz="1274" dirty="0">
              <a:solidFill>
                <a:srgbClr val="005CB9"/>
              </a:solidFill>
            </a:endParaRPr>
          </a:p>
        </p:txBody>
      </p:sp>
      <p:pic>
        <p:nvPicPr>
          <p:cNvPr id="42" name="Picture 41"/>
          <p:cNvPicPr>
            <a:picLocks noChangeAspect="1"/>
          </p:cNvPicPr>
          <p:nvPr/>
        </p:nvPicPr>
        <p:blipFill>
          <a:blip r:embed="rId6"/>
          <a:stretch>
            <a:fillRect/>
          </a:stretch>
        </p:blipFill>
        <p:spPr>
          <a:xfrm>
            <a:off x="2226056" y="1573198"/>
            <a:ext cx="2763114" cy="1406266"/>
          </a:xfrm>
          <a:prstGeom prst="rect">
            <a:avLst/>
          </a:prstGeom>
        </p:spPr>
      </p:pic>
      <p:pic>
        <p:nvPicPr>
          <p:cNvPr id="43" name="Picture 42"/>
          <p:cNvPicPr>
            <a:picLocks noChangeAspect="1"/>
          </p:cNvPicPr>
          <p:nvPr/>
        </p:nvPicPr>
        <p:blipFill>
          <a:blip r:embed="rId7"/>
          <a:stretch>
            <a:fillRect/>
          </a:stretch>
        </p:blipFill>
        <p:spPr>
          <a:xfrm>
            <a:off x="7842574" y="1556079"/>
            <a:ext cx="2688437" cy="1440504"/>
          </a:xfrm>
          <a:prstGeom prst="rect">
            <a:avLst/>
          </a:prstGeom>
        </p:spPr>
      </p:pic>
      <p:sp>
        <p:nvSpPr>
          <p:cNvPr id="44" name="TextBox 43"/>
          <p:cNvSpPr txBox="1"/>
          <p:nvPr/>
        </p:nvSpPr>
        <p:spPr>
          <a:xfrm>
            <a:off x="1033331" y="2738540"/>
            <a:ext cx="5117185" cy="2062103"/>
          </a:xfrm>
          <a:prstGeom prst="rect">
            <a:avLst/>
          </a:prstGeom>
          <a:noFill/>
        </p:spPr>
        <p:txBody>
          <a:bodyPr wrap="square" rtlCol="0">
            <a:spAutoFit/>
          </a:bodyPr>
          <a:lstStyle/>
          <a:p>
            <a:pPr defTabSz="896112"/>
            <a:endParaRPr lang="en-US" sz="1600" dirty="0">
              <a:solidFill>
                <a:srgbClr val="464646"/>
              </a:solidFill>
            </a:endParaRPr>
          </a:p>
          <a:p>
            <a:pPr marL="280035" indent="-280035" defTabSz="896112">
              <a:buClr>
                <a:srgbClr val="FF5800"/>
              </a:buClr>
              <a:buFont typeface="Wingdings" panose="05000000000000000000" pitchFamily="2" charset="2"/>
              <a:buChar char="§"/>
            </a:pPr>
            <a:r>
              <a:rPr lang="en-US" sz="1600" dirty="0">
                <a:solidFill>
                  <a:srgbClr val="464646"/>
                </a:solidFill>
              </a:rPr>
              <a:t>Rare occurrences</a:t>
            </a:r>
          </a:p>
          <a:p>
            <a:pPr marL="280035" indent="-280035" defTabSz="896112">
              <a:buClr>
                <a:srgbClr val="FF5800"/>
              </a:buClr>
              <a:buFont typeface="Wingdings" panose="05000000000000000000" pitchFamily="2" charset="2"/>
              <a:buChar char="§"/>
            </a:pPr>
            <a:r>
              <a:rPr lang="en-US" sz="1600" dirty="0">
                <a:solidFill>
                  <a:srgbClr val="464646"/>
                </a:solidFill>
              </a:rPr>
              <a:t>Predicted 100 patients as probable cancer cases and only 12 of them have CANCER </a:t>
            </a:r>
          </a:p>
          <a:p>
            <a:pPr marL="280035" indent="-280035" defTabSz="896112">
              <a:buClr>
                <a:srgbClr val="FF5800"/>
              </a:buClr>
              <a:buFont typeface="Wingdings" panose="05000000000000000000" pitchFamily="2" charset="2"/>
              <a:buChar char="§"/>
            </a:pPr>
            <a:r>
              <a:rPr lang="en-US" sz="1600" dirty="0">
                <a:solidFill>
                  <a:srgbClr val="464646"/>
                </a:solidFill>
              </a:rPr>
              <a:t>Predicted 20 patients as probable cancer cases and 8 of them have CANCER ( missed the 4 real patients)</a:t>
            </a:r>
          </a:p>
          <a:p>
            <a:pPr marL="280035" indent="-280035" defTabSz="896112">
              <a:buClr>
                <a:srgbClr val="FF5800"/>
              </a:buClr>
              <a:buFont typeface="Wingdings" panose="05000000000000000000" pitchFamily="2" charset="2"/>
              <a:buChar char="§"/>
            </a:pPr>
            <a:r>
              <a:rPr lang="en-US" sz="1600" dirty="0">
                <a:solidFill>
                  <a:srgbClr val="464646"/>
                </a:solidFill>
              </a:rPr>
              <a:t>Cost of False Negative is too high</a:t>
            </a:r>
          </a:p>
        </p:txBody>
      </p:sp>
      <p:sp>
        <p:nvSpPr>
          <p:cNvPr id="45" name="TextBox 44"/>
          <p:cNvSpPr txBox="1"/>
          <p:nvPr/>
        </p:nvSpPr>
        <p:spPr>
          <a:xfrm>
            <a:off x="6663327" y="2745298"/>
            <a:ext cx="5078156" cy="1815882"/>
          </a:xfrm>
          <a:prstGeom prst="rect">
            <a:avLst/>
          </a:prstGeom>
          <a:noFill/>
        </p:spPr>
        <p:txBody>
          <a:bodyPr wrap="square" rtlCol="0">
            <a:spAutoFit/>
          </a:bodyPr>
          <a:lstStyle/>
          <a:p>
            <a:pPr defTabSz="896112"/>
            <a:endParaRPr lang="en-US" sz="1600" dirty="0">
              <a:solidFill>
                <a:srgbClr val="464646"/>
              </a:solidFill>
            </a:endParaRPr>
          </a:p>
          <a:p>
            <a:pPr marL="280035" indent="-280035" defTabSz="896112">
              <a:buClr>
                <a:srgbClr val="FF5800"/>
              </a:buClr>
              <a:buFont typeface="Wingdings" panose="05000000000000000000" pitchFamily="2" charset="2"/>
              <a:buChar char="§"/>
            </a:pPr>
            <a:r>
              <a:rPr lang="en-US" sz="1600" dirty="0">
                <a:solidFill>
                  <a:srgbClr val="464646"/>
                </a:solidFill>
              </a:rPr>
              <a:t>Not rare occurrences</a:t>
            </a:r>
          </a:p>
          <a:p>
            <a:pPr marL="280035" indent="-280035" defTabSz="896112">
              <a:buClr>
                <a:srgbClr val="FF5800"/>
              </a:buClr>
              <a:buFont typeface="Wingdings" panose="05000000000000000000" pitchFamily="2" charset="2"/>
              <a:buChar char="§"/>
            </a:pPr>
            <a:r>
              <a:rPr lang="en-US" sz="1600" dirty="0">
                <a:solidFill>
                  <a:srgbClr val="464646"/>
                </a:solidFill>
              </a:rPr>
              <a:t>Predicted 10 customers will buy bike and only 6 of them have bought </a:t>
            </a:r>
          </a:p>
          <a:p>
            <a:pPr marL="280035" indent="-280035" defTabSz="896112">
              <a:buClr>
                <a:srgbClr val="FF5800"/>
              </a:buClr>
              <a:buFont typeface="Wingdings" panose="05000000000000000000" pitchFamily="2" charset="2"/>
              <a:buChar char="§"/>
            </a:pPr>
            <a:r>
              <a:rPr lang="en-US" sz="1600" dirty="0">
                <a:solidFill>
                  <a:srgbClr val="464646"/>
                </a:solidFill>
              </a:rPr>
              <a:t>Predicted 100 customers will buy bike and only 35 of them have bought </a:t>
            </a:r>
          </a:p>
          <a:p>
            <a:pPr marL="280035" indent="-280035" defTabSz="896112">
              <a:buClr>
                <a:srgbClr val="FF5800"/>
              </a:buClr>
              <a:buFont typeface="Wingdings" panose="05000000000000000000" pitchFamily="2" charset="2"/>
              <a:buChar char="§"/>
            </a:pPr>
            <a:r>
              <a:rPr lang="en-US" sz="1600" dirty="0">
                <a:solidFill>
                  <a:srgbClr val="464646"/>
                </a:solidFill>
              </a:rPr>
              <a:t>Cost of False Negative is not high</a:t>
            </a:r>
          </a:p>
        </p:txBody>
      </p:sp>
      <p:sp>
        <p:nvSpPr>
          <p:cNvPr id="5" name="Rounded Rectangle 4"/>
          <p:cNvSpPr/>
          <p:nvPr/>
        </p:nvSpPr>
        <p:spPr>
          <a:xfrm>
            <a:off x="960792" y="5146651"/>
            <a:ext cx="10780691" cy="672109"/>
          </a:xfrm>
          <a:prstGeom prst="round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r>
              <a:rPr lang="nl-NL" sz="1764" dirty="0">
                <a:solidFill>
                  <a:srgbClr val="FFFFFF"/>
                </a:solidFill>
              </a:rPr>
              <a:t>How well a model learns the relationship between features and targets is measured by the Classifier Performance and the ROC Curve </a:t>
            </a:r>
            <a:endParaRPr lang="en-US" sz="1764" dirty="0">
              <a:solidFill>
                <a:srgbClr val="FFFFFF"/>
              </a:solidFill>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49</a:t>
            </a:fld>
            <a:endParaRPr lang="en-US"/>
          </a:p>
        </p:txBody>
      </p:sp>
    </p:spTree>
    <p:extLst>
      <p:ext uri="{BB962C8B-B14F-4D97-AF65-F5344CB8AC3E}">
        <p14:creationId xmlns:p14="http://schemas.microsoft.com/office/powerpoint/2010/main" val="42433128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Linear Regression</a:t>
            </a:r>
          </a:p>
        </p:txBody>
      </p:sp>
      <p:sp>
        <p:nvSpPr>
          <p:cNvPr id="16" name="object 4"/>
          <p:cNvSpPr/>
          <p:nvPr/>
        </p:nvSpPr>
        <p:spPr>
          <a:xfrm>
            <a:off x="3433930" y="4722006"/>
            <a:ext cx="6118325" cy="0"/>
          </a:xfrm>
          <a:custGeom>
            <a:avLst/>
            <a:gdLst/>
            <a:ahLst/>
            <a:cxnLst/>
            <a:rect l="l" t="t" r="r" b="b"/>
            <a:pathLst>
              <a:path w="6129655">
                <a:moveTo>
                  <a:pt x="0" y="0"/>
                </a:moveTo>
                <a:lnTo>
                  <a:pt x="6129528"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17" name="object 5"/>
          <p:cNvSpPr/>
          <p:nvPr/>
        </p:nvSpPr>
        <p:spPr>
          <a:xfrm>
            <a:off x="3433930" y="4113532"/>
            <a:ext cx="6118325" cy="0"/>
          </a:xfrm>
          <a:custGeom>
            <a:avLst/>
            <a:gdLst/>
            <a:ahLst/>
            <a:cxnLst/>
            <a:rect l="l" t="t" r="r" b="b"/>
            <a:pathLst>
              <a:path w="6129655">
                <a:moveTo>
                  <a:pt x="0" y="0"/>
                </a:moveTo>
                <a:lnTo>
                  <a:pt x="6129528"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19" name="object 6"/>
          <p:cNvSpPr/>
          <p:nvPr/>
        </p:nvSpPr>
        <p:spPr>
          <a:xfrm>
            <a:off x="3433930" y="3505059"/>
            <a:ext cx="6118325" cy="0"/>
          </a:xfrm>
          <a:custGeom>
            <a:avLst/>
            <a:gdLst/>
            <a:ahLst/>
            <a:cxnLst/>
            <a:rect l="l" t="t" r="r" b="b"/>
            <a:pathLst>
              <a:path w="6129655">
                <a:moveTo>
                  <a:pt x="0" y="0"/>
                </a:moveTo>
                <a:lnTo>
                  <a:pt x="6129528"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0" name="object 7"/>
          <p:cNvSpPr/>
          <p:nvPr/>
        </p:nvSpPr>
        <p:spPr>
          <a:xfrm>
            <a:off x="3433930" y="2896586"/>
            <a:ext cx="6118325" cy="0"/>
          </a:xfrm>
          <a:custGeom>
            <a:avLst/>
            <a:gdLst/>
            <a:ahLst/>
            <a:cxnLst/>
            <a:rect l="l" t="t" r="r" b="b"/>
            <a:pathLst>
              <a:path w="6129655">
                <a:moveTo>
                  <a:pt x="0" y="0"/>
                </a:moveTo>
                <a:lnTo>
                  <a:pt x="6129528"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1" name="object 8"/>
          <p:cNvSpPr/>
          <p:nvPr/>
        </p:nvSpPr>
        <p:spPr>
          <a:xfrm>
            <a:off x="3433930" y="2288113"/>
            <a:ext cx="6118325" cy="0"/>
          </a:xfrm>
          <a:custGeom>
            <a:avLst/>
            <a:gdLst/>
            <a:ahLst/>
            <a:cxnLst/>
            <a:rect l="l" t="t" r="r" b="b"/>
            <a:pathLst>
              <a:path w="6129655">
                <a:moveTo>
                  <a:pt x="0" y="0"/>
                </a:moveTo>
                <a:lnTo>
                  <a:pt x="6129528"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2" name="object 9"/>
          <p:cNvSpPr/>
          <p:nvPr/>
        </p:nvSpPr>
        <p:spPr>
          <a:xfrm>
            <a:off x="3433930" y="2288113"/>
            <a:ext cx="0" cy="3042366"/>
          </a:xfrm>
          <a:custGeom>
            <a:avLst/>
            <a:gdLst/>
            <a:ahLst/>
            <a:cxnLst/>
            <a:rect l="l" t="t" r="r" b="b"/>
            <a:pathLst>
              <a:path h="3048000">
                <a:moveTo>
                  <a:pt x="0" y="3048000"/>
                </a:moveTo>
                <a:lnTo>
                  <a:pt x="0"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3" name="object 10"/>
          <p:cNvSpPr/>
          <p:nvPr/>
        </p:nvSpPr>
        <p:spPr>
          <a:xfrm>
            <a:off x="3373084" y="5330479"/>
            <a:ext cx="60847" cy="0"/>
          </a:xfrm>
          <a:custGeom>
            <a:avLst/>
            <a:gdLst/>
            <a:ahLst/>
            <a:cxnLst/>
            <a:rect l="l" t="t" r="r" b="b"/>
            <a:pathLst>
              <a:path w="60960">
                <a:moveTo>
                  <a:pt x="0" y="0"/>
                </a:moveTo>
                <a:lnTo>
                  <a:pt x="60959"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4" name="object 11"/>
          <p:cNvSpPr/>
          <p:nvPr/>
        </p:nvSpPr>
        <p:spPr>
          <a:xfrm>
            <a:off x="3373084" y="4722006"/>
            <a:ext cx="60847" cy="0"/>
          </a:xfrm>
          <a:custGeom>
            <a:avLst/>
            <a:gdLst/>
            <a:ahLst/>
            <a:cxnLst/>
            <a:rect l="l" t="t" r="r" b="b"/>
            <a:pathLst>
              <a:path w="60960">
                <a:moveTo>
                  <a:pt x="0" y="0"/>
                </a:moveTo>
                <a:lnTo>
                  <a:pt x="60959"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5" name="object 12"/>
          <p:cNvSpPr/>
          <p:nvPr/>
        </p:nvSpPr>
        <p:spPr>
          <a:xfrm>
            <a:off x="3373084" y="4113532"/>
            <a:ext cx="60847" cy="0"/>
          </a:xfrm>
          <a:custGeom>
            <a:avLst/>
            <a:gdLst/>
            <a:ahLst/>
            <a:cxnLst/>
            <a:rect l="l" t="t" r="r" b="b"/>
            <a:pathLst>
              <a:path w="60960">
                <a:moveTo>
                  <a:pt x="0" y="0"/>
                </a:moveTo>
                <a:lnTo>
                  <a:pt x="60959"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6" name="object 13"/>
          <p:cNvSpPr/>
          <p:nvPr/>
        </p:nvSpPr>
        <p:spPr>
          <a:xfrm>
            <a:off x="3373084" y="3505059"/>
            <a:ext cx="60847" cy="0"/>
          </a:xfrm>
          <a:custGeom>
            <a:avLst/>
            <a:gdLst/>
            <a:ahLst/>
            <a:cxnLst/>
            <a:rect l="l" t="t" r="r" b="b"/>
            <a:pathLst>
              <a:path w="60960">
                <a:moveTo>
                  <a:pt x="0" y="0"/>
                </a:moveTo>
                <a:lnTo>
                  <a:pt x="60959"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7" name="object 14"/>
          <p:cNvSpPr/>
          <p:nvPr/>
        </p:nvSpPr>
        <p:spPr>
          <a:xfrm>
            <a:off x="3373084" y="2896586"/>
            <a:ext cx="60847" cy="0"/>
          </a:xfrm>
          <a:custGeom>
            <a:avLst/>
            <a:gdLst/>
            <a:ahLst/>
            <a:cxnLst/>
            <a:rect l="l" t="t" r="r" b="b"/>
            <a:pathLst>
              <a:path w="60960">
                <a:moveTo>
                  <a:pt x="0" y="0"/>
                </a:moveTo>
                <a:lnTo>
                  <a:pt x="60959"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8" name="object 15"/>
          <p:cNvSpPr/>
          <p:nvPr/>
        </p:nvSpPr>
        <p:spPr>
          <a:xfrm>
            <a:off x="3373084" y="2288113"/>
            <a:ext cx="60847" cy="0"/>
          </a:xfrm>
          <a:custGeom>
            <a:avLst/>
            <a:gdLst/>
            <a:ahLst/>
            <a:cxnLst/>
            <a:rect l="l" t="t" r="r" b="b"/>
            <a:pathLst>
              <a:path w="60960">
                <a:moveTo>
                  <a:pt x="0" y="0"/>
                </a:moveTo>
                <a:lnTo>
                  <a:pt x="60959"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29" name="object 16"/>
          <p:cNvSpPr/>
          <p:nvPr/>
        </p:nvSpPr>
        <p:spPr>
          <a:xfrm>
            <a:off x="3433930" y="5330479"/>
            <a:ext cx="6118325" cy="0"/>
          </a:xfrm>
          <a:custGeom>
            <a:avLst/>
            <a:gdLst/>
            <a:ahLst/>
            <a:cxnLst/>
            <a:rect l="l" t="t" r="r" b="b"/>
            <a:pathLst>
              <a:path w="6129655">
                <a:moveTo>
                  <a:pt x="0" y="0"/>
                </a:moveTo>
                <a:lnTo>
                  <a:pt x="6129528" y="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0" name="object 17"/>
          <p:cNvSpPr/>
          <p:nvPr/>
        </p:nvSpPr>
        <p:spPr>
          <a:xfrm>
            <a:off x="3433930"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1" name="object 18"/>
          <p:cNvSpPr/>
          <p:nvPr/>
        </p:nvSpPr>
        <p:spPr>
          <a:xfrm>
            <a:off x="4454644"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2" name="object 19"/>
          <p:cNvSpPr/>
          <p:nvPr/>
        </p:nvSpPr>
        <p:spPr>
          <a:xfrm>
            <a:off x="5473837"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3" name="object 20"/>
          <p:cNvSpPr/>
          <p:nvPr/>
        </p:nvSpPr>
        <p:spPr>
          <a:xfrm>
            <a:off x="6493029"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4" name="object 21"/>
          <p:cNvSpPr/>
          <p:nvPr/>
        </p:nvSpPr>
        <p:spPr>
          <a:xfrm>
            <a:off x="7513743"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5" name="object 22"/>
          <p:cNvSpPr/>
          <p:nvPr/>
        </p:nvSpPr>
        <p:spPr>
          <a:xfrm>
            <a:off x="8532936"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6" name="object 23"/>
          <p:cNvSpPr/>
          <p:nvPr/>
        </p:nvSpPr>
        <p:spPr>
          <a:xfrm>
            <a:off x="9552128" y="5330479"/>
            <a:ext cx="0" cy="60847"/>
          </a:xfrm>
          <a:custGeom>
            <a:avLst/>
            <a:gdLst/>
            <a:ahLst/>
            <a:cxnLst/>
            <a:rect l="l" t="t" r="r" b="b"/>
            <a:pathLst>
              <a:path h="60960">
                <a:moveTo>
                  <a:pt x="0" y="0"/>
                </a:moveTo>
                <a:lnTo>
                  <a:pt x="0" y="60960"/>
                </a:lnTo>
              </a:path>
            </a:pathLst>
          </a:custGeom>
          <a:ln w="9144">
            <a:solidFill>
              <a:srgbClr val="858585"/>
            </a:solidFill>
          </a:ln>
        </p:spPr>
        <p:txBody>
          <a:bodyPr wrap="square" lIns="0" tIns="0" rIns="0" bIns="0" rtlCol="0"/>
          <a:lstStyle/>
          <a:p>
            <a:pPr defTabSz="912754"/>
            <a:endParaRPr sz="1797">
              <a:solidFill>
                <a:srgbClr val="000000"/>
              </a:solidFill>
              <a:latin typeface="Arial"/>
            </a:endParaRPr>
          </a:p>
        </p:txBody>
      </p:sp>
      <p:sp>
        <p:nvSpPr>
          <p:cNvPr id="37" name="object 24"/>
          <p:cNvSpPr/>
          <p:nvPr/>
        </p:nvSpPr>
        <p:spPr>
          <a:xfrm>
            <a:off x="7675115" y="2847021"/>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38" name="object 25"/>
          <p:cNvSpPr/>
          <p:nvPr/>
        </p:nvSpPr>
        <p:spPr>
          <a:xfrm>
            <a:off x="7675115" y="2847021"/>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39" name="object 26"/>
          <p:cNvSpPr/>
          <p:nvPr/>
        </p:nvSpPr>
        <p:spPr>
          <a:xfrm>
            <a:off x="6646796" y="3272953"/>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0" name="object 27"/>
          <p:cNvSpPr/>
          <p:nvPr/>
        </p:nvSpPr>
        <p:spPr>
          <a:xfrm>
            <a:off x="6646796" y="3272953"/>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1" name="object 28"/>
          <p:cNvSpPr/>
          <p:nvPr/>
        </p:nvSpPr>
        <p:spPr>
          <a:xfrm>
            <a:off x="8279025" y="3035648"/>
            <a:ext cx="100778" cy="100778"/>
          </a:xfrm>
          <a:custGeom>
            <a:avLst/>
            <a:gdLst/>
            <a:ahLst/>
            <a:cxnLst/>
            <a:rect l="l" t="t" r="r" b="b"/>
            <a:pathLst>
              <a:path w="100965" h="100964">
                <a:moveTo>
                  <a:pt x="100583" y="100583"/>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2" name="object 29"/>
          <p:cNvSpPr/>
          <p:nvPr/>
        </p:nvSpPr>
        <p:spPr>
          <a:xfrm>
            <a:off x="8279025" y="3035648"/>
            <a:ext cx="100778" cy="100778"/>
          </a:xfrm>
          <a:custGeom>
            <a:avLst/>
            <a:gdLst/>
            <a:ahLst/>
            <a:cxnLst/>
            <a:rect l="l" t="t" r="r" b="b"/>
            <a:pathLst>
              <a:path w="100965" h="100964">
                <a:moveTo>
                  <a:pt x="0" y="100583"/>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3" name="object 30"/>
          <p:cNvSpPr/>
          <p:nvPr/>
        </p:nvSpPr>
        <p:spPr>
          <a:xfrm>
            <a:off x="6272586" y="3869256"/>
            <a:ext cx="100778" cy="100778"/>
          </a:xfrm>
          <a:custGeom>
            <a:avLst/>
            <a:gdLst/>
            <a:ahLst/>
            <a:cxnLst/>
            <a:rect l="l" t="t" r="r" b="b"/>
            <a:pathLst>
              <a:path w="100965" h="100964">
                <a:moveTo>
                  <a:pt x="100583" y="100583"/>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4" name="object 31"/>
          <p:cNvSpPr/>
          <p:nvPr/>
        </p:nvSpPr>
        <p:spPr>
          <a:xfrm>
            <a:off x="6272586" y="3869256"/>
            <a:ext cx="100778" cy="100778"/>
          </a:xfrm>
          <a:custGeom>
            <a:avLst/>
            <a:gdLst/>
            <a:ahLst/>
            <a:cxnLst/>
            <a:rect l="l" t="t" r="r" b="b"/>
            <a:pathLst>
              <a:path w="100965" h="100964">
                <a:moveTo>
                  <a:pt x="0" y="100583"/>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5" name="object 32"/>
          <p:cNvSpPr/>
          <p:nvPr/>
        </p:nvSpPr>
        <p:spPr>
          <a:xfrm>
            <a:off x="7433248" y="3455495"/>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6" name="object 33"/>
          <p:cNvSpPr/>
          <p:nvPr/>
        </p:nvSpPr>
        <p:spPr>
          <a:xfrm>
            <a:off x="7433248" y="3455495"/>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7" name="object 34"/>
          <p:cNvSpPr/>
          <p:nvPr/>
        </p:nvSpPr>
        <p:spPr>
          <a:xfrm>
            <a:off x="6512932" y="3364224"/>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8" name="object 35"/>
          <p:cNvSpPr/>
          <p:nvPr/>
        </p:nvSpPr>
        <p:spPr>
          <a:xfrm>
            <a:off x="6512932" y="3364224"/>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49" name="object 36"/>
          <p:cNvSpPr/>
          <p:nvPr/>
        </p:nvSpPr>
        <p:spPr>
          <a:xfrm>
            <a:off x="6295403" y="4070053"/>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0" name="object 37"/>
          <p:cNvSpPr/>
          <p:nvPr/>
        </p:nvSpPr>
        <p:spPr>
          <a:xfrm>
            <a:off x="6295403" y="4070053"/>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1" name="object 38"/>
          <p:cNvSpPr/>
          <p:nvPr/>
        </p:nvSpPr>
        <p:spPr>
          <a:xfrm>
            <a:off x="6199569" y="3990951"/>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2" name="object 39"/>
          <p:cNvSpPr/>
          <p:nvPr/>
        </p:nvSpPr>
        <p:spPr>
          <a:xfrm>
            <a:off x="6199569" y="3990951"/>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3" name="object 40"/>
          <p:cNvSpPr/>
          <p:nvPr/>
        </p:nvSpPr>
        <p:spPr>
          <a:xfrm>
            <a:off x="6430789" y="3805367"/>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4" name="object 41"/>
          <p:cNvSpPr/>
          <p:nvPr/>
        </p:nvSpPr>
        <p:spPr>
          <a:xfrm>
            <a:off x="6430789" y="3805367"/>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5" name="object 42"/>
          <p:cNvSpPr/>
          <p:nvPr/>
        </p:nvSpPr>
        <p:spPr>
          <a:xfrm>
            <a:off x="7340456" y="3820579"/>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6" name="object 43"/>
          <p:cNvSpPr/>
          <p:nvPr/>
        </p:nvSpPr>
        <p:spPr>
          <a:xfrm>
            <a:off x="7340456" y="3820579"/>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7" name="object 44"/>
          <p:cNvSpPr/>
          <p:nvPr/>
        </p:nvSpPr>
        <p:spPr>
          <a:xfrm>
            <a:off x="7463671" y="3169512"/>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8" name="object 45"/>
          <p:cNvSpPr/>
          <p:nvPr/>
        </p:nvSpPr>
        <p:spPr>
          <a:xfrm>
            <a:off x="7463671" y="3169512"/>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59" name="object 46"/>
          <p:cNvSpPr/>
          <p:nvPr/>
        </p:nvSpPr>
        <p:spPr>
          <a:xfrm>
            <a:off x="7238536" y="3272953"/>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0" name="object 47"/>
          <p:cNvSpPr/>
          <p:nvPr/>
        </p:nvSpPr>
        <p:spPr>
          <a:xfrm>
            <a:off x="7238536" y="3272953"/>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1" name="object 48"/>
          <p:cNvSpPr/>
          <p:nvPr/>
        </p:nvSpPr>
        <p:spPr>
          <a:xfrm>
            <a:off x="5969870" y="3698884"/>
            <a:ext cx="100778" cy="100778"/>
          </a:xfrm>
          <a:custGeom>
            <a:avLst/>
            <a:gdLst/>
            <a:ahLst/>
            <a:cxnLst/>
            <a:rect l="l" t="t" r="r" b="b"/>
            <a:pathLst>
              <a:path w="100965" h="100964">
                <a:moveTo>
                  <a:pt x="100583" y="100583"/>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2" name="object 49"/>
          <p:cNvSpPr/>
          <p:nvPr/>
        </p:nvSpPr>
        <p:spPr>
          <a:xfrm>
            <a:off x="5969870" y="3698884"/>
            <a:ext cx="100778" cy="100778"/>
          </a:xfrm>
          <a:custGeom>
            <a:avLst/>
            <a:gdLst/>
            <a:ahLst/>
            <a:cxnLst/>
            <a:rect l="l" t="t" r="r" b="b"/>
            <a:pathLst>
              <a:path w="100965" h="100964">
                <a:moveTo>
                  <a:pt x="0" y="100583"/>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3" name="object 50"/>
          <p:cNvSpPr/>
          <p:nvPr/>
        </p:nvSpPr>
        <p:spPr>
          <a:xfrm>
            <a:off x="8075187" y="2542785"/>
            <a:ext cx="100778" cy="100778"/>
          </a:xfrm>
          <a:custGeom>
            <a:avLst/>
            <a:gdLst/>
            <a:ahLst/>
            <a:cxnLst/>
            <a:rect l="l" t="t" r="r" b="b"/>
            <a:pathLst>
              <a:path w="100965" h="100965">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4" name="object 51"/>
          <p:cNvSpPr/>
          <p:nvPr/>
        </p:nvSpPr>
        <p:spPr>
          <a:xfrm>
            <a:off x="8075187" y="2542785"/>
            <a:ext cx="100778" cy="100778"/>
          </a:xfrm>
          <a:custGeom>
            <a:avLst/>
            <a:gdLst/>
            <a:ahLst/>
            <a:cxnLst/>
            <a:rect l="l" t="t" r="r" b="b"/>
            <a:pathLst>
              <a:path w="100965" h="100965">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5" name="object 52"/>
          <p:cNvSpPr/>
          <p:nvPr/>
        </p:nvSpPr>
        <p:spPr>
          <a:xfrm>
            <a:off x="6076352" y="3455495"/>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6" name="object 53"/>
          <p:cNvSpPr/>
          <p:nvPr/>
        </p:nvSpPr>
        <p:spPr>
          <a:xfrm>
            <a:off x="6076352" y="3455495"/>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7" name="object 54"/>
          <p:cNvSpPr/>
          <p:nvPr/>
        </p:nvSpPr>
        <p:spPr>
          <a:xfrm>
            <a:off x="5904458" y="4063968"/>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8" name="object 55"/>
          <p:cNvSpPr/>
          <p:nvPr/>
        </p:nvSpPr>
        <p:spPr>
          <a:xfrm>
            <a:off x="5904458" y="4063968"/>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69" name="object 56"/>
          <p:cNvSpPr/>
          <p:nvPr/>
        </p:nvSpPr>
        <p:spPr>
          <a:xfrm>
            <a:off x="8704957" y="2238548"/>
            <a:ext cx="100778" cy="100778"/>
          </a:xfrm>
          <a:custGeom>
            <a:avLst/>
            <a:gdLst/>
            <a:ahLst/>
            <a:cxnLst/>
            <a:rect l="l" t="t" r="r" b="b"/>
            <a:pathLst>
              <a:path w="100965" h="100965">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0" name="object 57"/>
          <p:cNvSpPr/>
          <p:nvPr/>
        </p:nvSpPr>
        <p:spPr>
          <a:xfrm>
            <a:off x="8704957" y="2238548"/>
            <a:ext cx="100778" cy="100778"/>
          </a:xfrm>
          <a:custGeom>
            <a:avLst/>
            <a:gdLst/>
            <a:ahLst/>
            <a:cxnLst/>
            <a:rect l="l" t="t" r="r" b="b"/>
            <a:pathLst>
              <a:path w="100965" h="100965">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1" name="object 58"/>
          <p:cNvSpPr/>
          <p:nvPr/>
        </p:nvSpPr>
        <p:spPr>
          <a:xfrm>
            <a:off x="6987541" y="3741477"/>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2" name="object 59"/>
          <p:cNvSpPr/>
          <p:nvPr/>
        </p:nvSpPr>
        <p:spPr>
          <a:xfrm>
            <a:off x="6987541" y="3741477"/>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3" name="object 60"/>
          <p:cNvSpPr/>
          <p:nvPr/>
        </p:nvSpPr>
        <p:spPr>
          <a:xfrm>
            <a:off x="7235494" y="3729308"/>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4" name="object 61"/>
          <p:cNvSpPr/>
          <p:nvPr/>
        </p:nvSpPr>
        <p:spPr>
          <a:xfrm>
            <a:off x="7235494" y="3729308"/>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5" name="object 62"/>
          <p:cNvSpPr/>
          <p:nvPr/>
        </p:nvSpPr>
        <p:spPr>
          <a:xfrm>
            <a:off x="6655924" y="3802324"/>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6" name="object 63"/>
          <p:cNvSpPr/>
          <p:nvPr/>
        </p:nvSpPr>
        <p:spPr>
          <a:xfrm>
            <a:off x="6655924" y="3802324"/>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77" name="object 64"/>
          <p:cNvSpPr/>
          <p:nvPr/>
        </p:nvSpPr>
        <p:spPr>
          <a:xfrm>
            <a:off x="7386091" y="3698884"/>
            <a:ext cx="100778" cy="100778"/>
          </a:xfrm>
          <a:custGeom>
            <a:avLst/>
            <a:gdLst/>
            <a:ahLst/>
            <a:cxnLst/>
            <a:rect l="l" t="t" r="r" b="b"/>
            <a:pathLst>
              <a:path w="100965" h="100964">
                <a:moveTo>
                  <a:pt x="100584" y="100583"/>
                </a:moveTo>
                <a:lnTo>
                  <a:pt x="0" y="0"/>
                </a:lnTo>
              </a:path>
            </a:pathLst>
          </a:custGeom>
          <a:ln w="12191">
            <a:solidFill>
              <a:srgbClr val="00AF50"/>
            </a:solidFill>
          </a:ln>
        </p:spPr>
        <p:txBody>
          <a:bodyPr wrap="square" lIns="0" tIns="0" rIns="0" bIns="0" rtlCol="0"/>
          <a:lstStyle/>
          <a:p>
            <a:pPr defTabSz="912754"/>
            <a:endParaRPr sz="1797">
              <a:solidFill>
                <a:srgbClr val="000000"/>
              </a:solidFill>
              <a:latin typeface="Arial"/>
            </a:endParaRPr>
          </a:p>
        </p:txBody>
      </p:sp>
      <p:sp>
        <p:nvSpPr>
          <p:cNvPr id="78" name="object 65"/>
          <p:cNvSpPr/>
          <p:nvPr/>
        </p:nvSpPr>
        <p:spPr>
          <a:xfrm>
            <a:off x="7386091" y="3698884"/>
            <a:ext cx="100778" cy="100778"/>
          </a:xfrm>
          <a:custGeom>
            <a:avLst/>
            <a:gdLst/>
            <a:ahLst/>
            <a:cxnLst/>
            <a:rect l="l" t="t" r="r" b="b"/>
            <a:pathLst>
              <a:path w="100965" h="100964">
                <a:moveTo>
                  <a:pt x="0" y="100583"/>
                </a:moveTo>
                <a:lnTo>
                  <a:pt x="100584" y="0"/>
                </a:lnTo>
              </a:path>
            </a:pathLst>
          </a:custGeom>
          <a:ln w="12191">
            <a:solidFill>
              <a:srgbClr val="00AF50"/>
            </a:solidFill>
          </a:ln>
        </p:spPr>
        <p:txBody>
          <a:bodyPr wrap="square" lIns="0" tIns="0" rIns="0" bIns="0" rtlCol="0"/>
          <a:lstStyle/>
          <a:p>
            <a:pPr defTabSz="912754"/>
            <a:endParaRPr sz="1797">
              <a:solidFill>
                <a:srgbClr val="000000"/>
              </a:solidFill>
              <a:latin typeface="Arial"/>
            </a:endParaRPr>
          </a:p>
        </p:txBody>
      </p:sp>
      <p:sp>
        <p:nvSpPr>
          <p:cNvPr id="79" name="object 66"/>
          <p:cNvSpPr/>
          <p:nvPr/>
        </p:nvSpPr>
        <p:spPr>
          <a:xfrm>
            <a:off x="5627604" y="3759731"/>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0" name="object 67"/>
          <p:cNvSpPr/>
          <p:nvPr/>
        </p:nvSpPr>
        <p:spPr>
          <a:xfrm>
            <a:off x="5627604" y="3759731"/>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1" name="object 68"/>
          <p:cNvSpPr/>
          <p:nvPr/>
        </p:nvSpPr>
        <p:spPr>
          <a:xfrm>
            <a:off x="6357771" y="2454556"/>
            <a:ext cx="100778" cy="100778"/>
          </a:xfrm>
          <a:custGeom>
            <a:avLst/>
            <a:gdLst/>
            <a:ahLst/>
            <a:cxnLst/>
            <a:rect l="l" t="t" r="r" b="b"/>
            <a:pathLst>
              <a:path w="100965" h="100965">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2" name="object 69"/>
          <p:cNvSpPr/>
          <p:nvPr/>
        </p:nvSpPr>
        <p:spPr>
          <a:xfrm>
            <a:off x="6357771" y="2454556"/>
            <a:ext cx="100778" cy="100778"/>
          </a:xfrm>
          <a:custGeom>
            <a:avLst/>
            <a:gdLst/>
            <a:ahLst/>
            <a:cxnLst/>
            <a:rect l="l" t="t" r="r" b="b"/>
            <a:pathLst>
              <a:path w="100965" h="100965">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3" name="object 70"/>
          <p:cNvSpPr/>
          <p:nvPr/>
        </p:nvSpPr>
        <p:spPr>
          <a:xfrm>
            <a:off x="8536106" y="2427175"/>
            <a:ext cx="100778" cy="100778"/>
          </a:xfrm>
          <a:custGeom>
            <a:avLst/>
            <a:gdLst/>
            <a:ahLst/>
            <a:cxnLst/>
            <a:rect l="l" t="t" r="r" b="b"/>
            <a:pathLst>
              <a:path w="100965" h="100965">
                <a:moveTo>
                  <a:pt x="100584" y="100583"/>
                </a:moveTo>
                <a:lnTo>
                  <a:pt x="0" y="0"/>
                </a:lnTo>
              </a:path>
            </a:pathLst>
          </a:custGeom>
          <a:ln w="12191">
            <a:solidFill>
              <a:srgbClr val="00AF50"/>
            </a:solidFill>
          </a:ln>
        </p:spPr>
        <p:txBody>
          <a:bodyPr wrap="square" lIns="0" tIns="0" rIns="0" bIns="0" rtlCol="0"/>
          <a:lstStyle/>
          <a:p>
            <a:pPr defTabSz="912754"/>
            <a:endParaRPr sz="1797">
              <a:solidFill>
                <a:srgbClr val="000000"/>
              </a:solidFill>
              <a:latin typeface="Arial"/>
            </a:endParaRPr>
          </a:p>
        </p:txBody>
      </p:sp>
      <p:sp>
        <p:nvSpPr>
          <p:cNvPr id="84" name="object 71"/>
          <p:cNvSpPr/>
          <p:nvPr/>
        </p:nvSpPr>
        <p:spPr>
          <a:xfrm>
            <a:off x="8536106" y="2427175"/>
            <a:ext cx="100778" cy="100778"/>
          </a:xfrm>
          <a:custGeom>
            <a:avLst/>
            <a:gdLst/>
            <a:ahLst/>
            <a:cxnLst/>
            <a:rect l="l" t="t" r="r" b="b"/>
            <a:pathLst>
              <a:path w="100965" h="100965">
                <a:moveTo>
                  <a:pt x="0" y="100583"/>
                </a:moveTo>
                <a:lnTo>
                  <a:pt x="100584" y="0"/>
                </a:lnTo>
              </a:path>
            </a:pathLst>
          </a:custGeom>
          <a:ln w="12191">
            <a:solidFill>
              <a:srgbClr val="00AF50"/>
            </a:solidFill>
          </a:ln>
        </p:spPr>
        <p:txBody>
          <a:bodyPr wrap="square" lIns="0" tIns="0" rIns="0" bIns="0" rtlCol="0"/>
          <a:lstStyle/>
          <a:p>
            <a:pPr defTabSz="912754"/>
            <a:endParaRPr sz="1797">
              <a:solidFill>
                <a:srgbClr val="000000"/>
              </a:solidFill>
              <a:latin typeface="Arial"/>
            </a:endParaRPr>
          </a:p>
        </p:txBody>
      </p:sp>
      <p:sp>
        <p:nvSpPr>
          <p:cNvPr id="85" name="object 72"/>
          <p:cNvSpPr/>
          <p:nvPr/>
        </p:nvSpPr>
        <p:spPr>
          <a:xfrm>
            <a:off x="7871349" y="2390667"/>
            <a:ext cx="100778" cy="100778"/>
          </a:xfrm>
          <a:custGeom>
            <a:avLst/>
            <a:gdLst/>
            <a:ahLst/>
            <a:cxnLst/>
            <a:rect l="l" t="t" r="r" b="b"/>
            <a:pathLst>
              <a:path w="100965" h="100965">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6" name="object 73"/>
          <p:cNvSpPr/>
          <p:nvPr/>
        </p:nvSpPr>
        <p:spPr>
          <a:xfrm>
            <a:off x="7871349" y="2390667"/>
            <a:ext cx="100778" cy="100778"/>
          </a:xfrm>
          <a:custGeom>
            <a:avLst/>
            <a:gdLst/>
            <a:ahLst/>
            <a:cxnLst/>
            <a:rect l="l" t="t" r="r" b="b"/>
            <a:pathLst>
              <a:path w="100965" h="100965">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7" name="object 74"/>
          <p:cNvSpPr/>
          <p:nvPr/>
        </p:nvSpPr>
        <p:spPr>
          <a:xfrm>
            <a:off x="8762762" y="3455495"/>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8" name="object 75"/>
          <p:cNvSpPr/>
          <p:nvPr/>
        </p:nvSpPr>
        <p:spPr>
          <a:xfrm>
            <a:off x="8762762" y="3455495"/>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89" name="object 76"/>
          <p:cNvSpPr/>
          <p:nvPr/>
        </p:nvSpPr>
        <p:spPr>
          <a:xfrm>
            <a:off x="7135096" y="3151258"/>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0" name="object 77"/>
          <p:cNvSpPr/>
          <p:nvPr/>
        </p:nvSpPr>
        <p:spPr>
          <a:xfrm>
            <a:off x="7135096" y="3151258"/>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1" name="object 78"/>
          <p:cNvSpPr/>
          <p:nvPr/>
        </p:nvSpPr>
        <p:spPr>
          <a:xfrm>
            <a:off x="5423766" y="4246510"/>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2" name="object 79"/>
          <p:cNvSpPr/>
          <p:nvPr/>
        </p:nvSpPr>
        <p:spPr>
          <a:xfrm>
            <a:off x="5423766" y="4246510"/>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3" name="object 80"/>
          <p:cNvSpPr/>
          <p:nvPr/>
        </p:nvSpPr>
        <p:spPr>
          <a:xfrm>
            <a:off x="7544295" y="3364224"/>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4" name="object 81"/>
          <p:cNvSpPr/>
          <p:nvPr/>
        </p:nvSpPr>
        <p:spPr>
          <a:xfrm>
            <a:off x="7544295" y="3364224"/>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5" name="object 82"/>
          <p:cNvSpPr/>
          <p:nvPr/>
        </p:nvSpPr>
        <p:spPr>
          <a:xfrm>
            <a:off x="7077291" y="3540681"/>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6" name="object 83"/>
          <p:cNvSpPr/>
          <p:nvPr/>
        </p:nvSpPr>
        <p:spPr>
          <a:xfrm>
            <a:off x="7077291" y="3540681"/>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7" name="object 84"/>
          <p:cNvSpPr/>
          <p:nvPr/>
        </p:nvSpPr>
        <p:spPr>
          <a:xfrm>
            <a:off x="6315179" y="3759731"/>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8" name="object 85"/>
          <p:cNvSpPr/>
          <p:nvPr/>
        </p:nvSpPr>
        <p:spPr>
          <a:xfrm>
            <a:off x="6315179" y="3759731"/>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99" name="object 86"/>
          <p:cNvSpPr/>
          <p:nvPr/>
        </p:nvSpPr>
        <p:spPr>
          <a:xfrm>
            <a:off x="5910544" y="3881426"/>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0" name="object 87"/>
          <p:cNvSpPr/>
          <p:nvPr/>
        </p:nvSpPr>
        <p:spPr>
          <a:xfrm>
            <a:off x="5910544" y="3881426"/>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1" name="object 88"/>
          <p:cNvSpPr/>
          <p:nvPr/>
        </p:nvSpPr>
        <p:spPr>
          <a:xfrm>
            <a:off x="7732920" y="3181682"/>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2" name="object 89"/>
          <p:cNvSpPr/>
          <p:nvPr/>
        </p:nvSpPr>
        <p:spPr>
          <a:xfrm>
            <a:off x="7732920" y="3181682"/>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3" name="object 90"/>
          <p:cNvSpPr/>
          <p:nvPr/>
        </p:nvSpPr>
        <p:spPr>
          <a:xfrm>
            <a:off x="7793769" y="3534596"/>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4" name="object 91"/>
          <p:cNvSpPr/>
          <p:nvPr/>
        </p:nvSpPr>
        <p:spPr>
          <a:xfrm>
            <a:off x="7793769" y="3534596"/>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5" name="object 92"/>
          <p:cNvSpPr/>
          <p:nvPr/>
        </p:nvSpPr>
        <p:spPr>
          <a:xfrm>
            <a:off x="6777617" y="3038690"/>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6" name="object 93"/>
          <p:cNvSpPr/>
          <p:nvPr/>
        </p:nvSpPr>
        <p:spPr>
          <a:xfrm>
            <a:off x="6777617" y="3038690"/>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7" name="object 94"/>
          <p:cNvSpPr/>
          <p:nvPr/>
        </p:nvSpPr>
        <p:spPr>
          <a:xfrm>
            <a:off x="7948929" y="3272953"/>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8" name="object 95"/>
          <p:cNvSpPr/>
          <p:nvPr/>
        </p:nvSpPr>
        <p:spPr>
          <a:xfrm>
            <a:off x="7948929" y="3272953"/>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09" name="object 96"/>
          <p:cNvSpPr/>
          <p:nvPr/>
        </p:nvSpPr>
        <p:spPr>
          <a:xfrm>
            <a:off x="8619770" y="3370308"/>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0" name="object 97"/>
          <p:cNvSpPr/>
          <p:nvPr/>
        </p:nvSpPr>
        <p:spPr>
          <a:xfrm>
            <a:off x="8619770" y="3370308"/>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1" name="object 98"/>
          <p:cNvSpPr/>
          <p:nvPr/>
        </p:nvSpPr>
        <p:spPr>
          <a:xfrm>
            <a:off x="5831442" y="3461579"/>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2" name="object 99"/>
          <p:cNvSpPr/>
          <p:nvPr/>
        </p:nvSpPr>
        <p:spPr>
          <a:xfrm>
            <a:off x="5831442" y="3461579"/>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3" name="object 100"/>
          <p:cNvSpPr/>
          <p:nvPr/>
        </p:nvSpPr>
        <p:spPr>
          <a:xfrm>
            <a:off x="5122570" y="4185662"/>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4" name="object 101"/>
          <p:cNvSpPr/>
          <p:nvPr/>
        </p:nvSpPr>
        <p:spPr>
          <a:xfrm>
            <a:off x="5122570" y="4185662"/>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5" name="object 102"/>
          <p:cNvSpPr/>
          <p:nvPr/>
        </p:nvSpPr>
        <p:spPr>
          <a:xfrm>
            <a:off x="7160956" y="3455495"/>
            <a:ext cx="100778" cy="100778"/>
          </a:xfrm>
          <a:custGeom>
            <a:avLst/>
            <a:gdLst/>
            <a:ahLst/>
            <a:cxnLst/>
            <a:rect l="l" t="t" r="r" b="b"/>
            <a:pathLst>
              <a:path w="100965" h="100964">
                <a:moveTo>
                  <a:pt x="100584"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6" name="object 103"/>
          <p:cNvSpPr/>
          <p:nvPr/>
        </p:nvSpPr>
        <p:spPr>
          <a:xfrm>
            <a:off x="7160956" y="3455495"/>
            <a:ext cx="100778" cy="100778"/>
          </a:xfrm>
          <a:custGeom>
            <a:avLst/>
            <a:gdLst/>
            <a:ahLst/>
            <a:cxnLst/>
            <a:rect l="l" t="t" r="r" b="b"/>
            <a:pathLst>
              <a:path w="100965" h="100964">
                <a:moveTo>
                  <a:pt x="0" y="100584"/>
                </a:moveTo>
                <a:lnTo>
                  <a:pt x="100584"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7" name="object 104"/>
          <p:cNvSpPr/>
          <p:nvPr/>
        </p:nvSpPr>
        <p:spPr>
          <a:xfrm>
            <a:off x="5837527" y="3823621"/>
            <a:ext cx="100778" cy="100778"/>
          </a:xfrm>
          <a:custGeom>
            <a:avLst/>
            <a:gdLst/>
            <a:ahLst/>
            <a:cxnLst/>
            <a:rect l="l" t="t" r="r" b="b"/>
            <a:pathLst>
              <a:path w="100965" h="100964">
                <a:moveTo>
                  <a:pt x="100583" y="100584"/>
                </a:moveTo>
                <a:lnTo>
                  <a:pt x="0"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8" name="object 105"/>
          <p:cNvSpPr/>
          <p:nvPr/>
        </p:nvSpPr>
        <p:spPr>
          <a:xfrm>
            <a:off x="5837527" y="3823621"/>
            <a:ext cx="100778" cy="100778"/>
          </a:xfrm>
          <a:custGeom>
            <a:avLst/>
            <a:gdLst/>
            <a:ahLst/>
            <a:cxnLst/>
            <a:rect l="l" t="t" r="r" b="b"/>
            <a:pathLst>
              <a:path w="100965" h="100964">
                <a:moveTo>
                  <a:pt x="0" y="100584"/>
                </a:moveTo>
                <a:lnTo>
                  <a:pt x="100583" y="0"/>
                </a:lnTo>
              </a:path>
            </a:pathLst>
          </a:custGeom>
          <a:ln w="12192">
            <a:solidFill>
              <a:srgbClr val="00AF50"/>
            </a:solidFill>
          </a:ln>
        </p:spPr>
        <p:txBody>
          <a:bodyPr wrap="square" lIns="0" tIns="0" rIns="0" bIns="0" rtlCol="0"/>
          <a:lstStyle/>
          <a:p>
            <a:pPr defTabSz="912754"/>
            <a:endParaRPr sz="1797">
              <a:solidFill>
                <a:srgbClr val="000000"/>
              </a:solidFill>
              <a:latin typeface="Arial"/>
            </a:endParaRPr>
          </a:p>
        </p:txBody>
      </p:sp>
      <p:sp>
        <p:nvSpPr>
          <p:cNvPr id="119" name="object 106"/>
          <p:cNvSpPr txBox="1"/>
          <p:nvPr/>
        </p:nvSpPr>
        <p:spPr>
          <a:xfrm>
            <a:off x="3135272" y="5193319"/>
            <a:ext cx="138174"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20" name="object 107"/>
          <p:cNvSpPr txBox="1"/>
          <p:nvPr/>
        </p:nvSpPr>
        <p:spPr>
          <a:xfrm>
            <a:off x="2909504" y="4584593"/>
            <a:ext cx="363182"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100</a:t>
            </a:r>
            <a:endParaRPr sz="1797">
              <a:solidFill>
                <a:srgbClr val="000000"/>
              </a:solidFill>
              <a:latin typeface="Calibri" panose="020F0502020204030204" pitchFamily="34" charset="0"/>
              <a:cs typeface="Arial"/>
            </a:endParaRPr>
          </a:p>
        </p:txBody>
      </p:sp>
      <p:sp>
        <p:nvSpPr>
          <p:cNvPr id="121" name="object 108"/>
          <p:cNvSpPr txBox="1"/>
          <p:nvPr/>
        </p:nvSpPr>
        <p:spPr>
          <a:xfrm>
            <a:off x="2909504" y="3975867"/>
            <a:ext cx="363182"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200</a:t>
            </a:r>
            <a:endParaRPr sz="1797">
              <a:solidFill>
                <a:srgbClr val="000000"/>
              </a:solidFill>
              <a:latin typeface="Calibri" panose="020F0502020204030204" pitchFamily="34" charset="0"/>
              <a:cs typeface="Arial"/>
            </a:endParaRPr>
          </a:p>
        </p:txBody>
      </p:sp>
      <p:sp>
        <p:nvSpPr>
          <p:cNvPr id="122" name="object 109"/>
          <p:cNvSpPr txBox="1"/>
          <p:nvPr/>
        </p:nvSpPr>
        <p:spPr>
          <a:xfrm>
            <a:off x="2909504" y="2758539"/>
            <a:ext cx="363182"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400</a:t>
            </a:r>
            <a:endParaRPr sz="1797">
              <a:solidFill>
                <a:srgbClr val="000000"/>
              </a:solidFill>
              <a:latin typeface="Calibri" panose="020F0502020204030204" pitchFamily="34" charset="0"/>
              <a:cs typeface="Arial"/>
            </a:endParaRPr>
          </a:p>
        </p:txBody>
      </p:sp>
      <p:sp>
        <p:nvSpPr>
          <p:cNvPr id="123" name="object 110"/>
          <p:cNvSpPr txBox="1"/>
          <p:nvPr/>
        </p:nvSpPr>
        <p:spPr>
          <a:xfrm>
            <a:off x="2909504" y="2149812"/>
            <a:ext cx="363182"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500</a:t>
            </a:r>
            <a:endParaRPr sz="1797" dirty="0">
              <a:solidFill>
                <a:srgbClr val="000000"/>
              </a:solidFill>
              <a:latin typeface="Calibri" panose="020F0502020204030204" pitchFamily="34" charset="0"/>
              <a:cs typeface="Arial"/>
            </a:endParaRPr>
          </a:p>
        </p:txBody>
      </p:sp>
      <p:sp>
        <p:nvSpPr>
          <p:cNvPr id="124" name="object 111"/>
          <p:cNvSpPr txBox="1"/>
          <p:nvPr/>
        </p:nvSpPr>
        <p:spPr>
          <a:xfrm>
            <a:off x="3366238" y="5434934"/>
            <a:ext cx="138174"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25" name="object 112"/>
          <p:cNvSpPr txBox="1"/>
          <p:nvPr/>
        </p:nvSpPr>
        <p:spPr>
          <a:xfrm>
            <a:off x="4273117" y="5434934"/>
            <a:ext cx="363182"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500</a:t>
            </a:r>
            <a:endParaRPr sz="1797">
              <a:solidFill>
                <a:srgbClr val="000000"/>
              </a:solidFill>
              <a:latin typeface="Calibri" panose="020F0502020204030204" pitchFamily="34" charset="0"/>
              <a:cs typeface="Arial"/>
            </a:endParaRPr>
          </a:p>
        </p:txBody>
      </p:sp>
      <p:sp>
        <p:nvSpPr>
          <p:cNvPr id="126" name="object 113"/>
          <p:cNvSpPr txBox="1"/>
          <p:nvPr/>
        </p:nvSpPr>
        <p:spPr>
          <a:xfrm>
            <a:off x="5236659" y="5434934"/>
            <a:ext cx="477271"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10</a:t>
            </a:r>
            <a:r>
              <a:rPr sz="1797" dirty="0">
                <a:solidFill>
                  <a:srgbClr val="000000"/>
                </a:solidFill>
                <a:latin typeface="Calibri" panose="020F0502020204030204" pitchFamily="34" charset="0"/>
                <a:cs typeface="Arial"/>
              </a:rPr>
              <a:t>0</a:t>
            </a:r>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27" name="object 114"/>
          <p:cNvSpPr txBox="1"/>
          <p:nvPr/>
        </p:nvSpPr>
        <p:spPr>
          <a:xfrm>
            <a:off x="6256486" y="5434934"/>
            <a:ext cx="477271"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15</a:t>
            </a:r>
            <a:r>
              <a:rPr sz="1797" dirty="0">
                <a:solidFill>
                  <a:srgbClr val="000000"/>
                </a:solidFill>
                <a:latin typeface="Calibri" panose="020F0502020204030204" pitchFamily="34" charset="0"/>
                <a:cs typeface="Arial"/>
              </a:rPr>
              <a:t>0</a:t>
            </a:r>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28" name="object 115"/>
          <p:cNvSpPr txBox="1"/>
          <p:nvPr/>
        </p:nvSpPr>
        <p:spPr>
          <a:xfrm>
            <a:off x="7276186" y="5434934"/>
            <a:ext cx="477271"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20</a:t>
            </a:r>
            <a:r>
              <a:rPr sz="1797" dirty="0">
                <a:solidFill>
                  <a:srgbClr val="000000"/>
                </a:solidFill>
                <a:latin typeface="Calibri" panose="020F0502020204030204" pitchFamily="34" charset="0"/>
                <a:cs typeface="Arial"/>
              </a:rPr>
              <a:t>0</a:t>
            </a:r>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29" name="object 116"/>
          <p:cNvSpPr txBox="1"/>
          <p:nvPr/>
        </p:nvSpPr>
        <p:spPr>
          <a:xfrm>
            <a:off x="8296012" y="5434934"/>
            <a:ext cx="477271"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25</a:t>
            </a:r>
            <a:r>
              <a:rPr sz="1797" dirty="0">
                <a:solidFill>
                  <a:srgbClr val="000000"/>
                </a:solidFill>
                <a:latin typeface="Calibri" panose="020F0502020204030204" pitchFamily="34" charset="0"/>
                <a:cs typeface="Arial"/>
              </a:rPr>
              <a:t>0</a:t>
            </a:r>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30" name="object 117"/>
          <p:cNvSpPr txBox="1"/>
          <p:nvPr/>
        </p:nvSpPr>
        <p:spPr>
          <a:xfrm>
            <a:off x="9315839" y="5434934"/>
            <a:ext cx="477271" cy="276487"/>
          </a:xfrm>
          <a:prstGeom prst="rect">
            <a:avLst/>
          </a:prstGeom>
        </p:spPr>
        <p:txBody>
          <a:bodyPr vert="horz" wrap="square" lIns="0" tIns="0" rIns="0" bIns="0" rtlCol="0">
            <a:spAutoFit/>
          </a:bodyPr>
          <a:lstStyle/>
          <a:p>
            <a:pPr marL="12677" defTabSz="912754"/>
            <a:r>
              <a:rPr sz="1797" spc="-5" dirty="0">
                <a:solidFill>
                  <a:srgbClr val="000000"/>
                </a:solidFill>
                <a:latin typeface="Calibri" panose="020F0502020204030204" pitchFamily="34" charset="0"/>
                <a:cs typeface="Arial"/>
              </a:rPr>
              <a:t>30</a:t>
            </a:r>
            <a:r>
              <a:rPr sz="1797" dirty="0">
                <a:solidFill>
                  <a:srgbClr val="000000"/>
                </a:solidFill>
                <a:latin typeface="Calibri" panose="020F0502020204030204" pitchFamily="34" charset="0"/>
                <a:cs typeface="Arial"/>
              </a:rPr>
              <a:t>0</a:t>
            </a:r>
            <a:r>
              <a:rPr sz="1797" spc="-5" dirty="0">
                <a:solidFill>
                  <a:srgbClr val="000000"/>
                </a:solidFill>
                <a:latin typeface="Calibri" panose="020F0502020204030204" pitchFamily="34" charset="0"/>
                <a:cs typeface="Arial"/>
              </a:rPr>
              <a:t>0</a:t>
            </a:r>
            <a:endParaRPr sz="1797">
              <a:solidFill>
                <a:srgbClr val="000000"/>
              </a:solidFill>
              <a:latin typeface="Calibri" panose="020F0502020204030204" pitchFamily="34" charset="0"/>
              <a:cs typeface="Arial"/>
            </a:endParaRPr>
          </a:p>
        </p:txBody>
      </p:sp>
      <p:sp>
        <p:nvSpPr>
          <p:cNvPr id="132" name="object 120"/>
          <p:cNvSpPr txBox="1"/>
          <p:nvPr/>
        </p:nvSpPr>
        <p:spPr>
          <a:xfrm>
            <a:off x="2139745" y="2117424"/>
            <a:ext cx="368691" cy="3705221"/>
          </a:xfrm>
          <a:prstGeom prst="rect">
            <a:avLst/>
          </a:prstGeom>
        </p:spPr>
        <p:txBody>
          <a:bodyPr vert="vert270" wrap="square" lIns="0" tIns="0" rIns="0" bIns="0" rtlCol="0">
            <a:spAutoFit/>
          </a:bodyPr>
          <a:lstStyle/>
          <a:p>
            <a:pPr marL="12677" marR="5071" indent="339113" defTabSz="912754"/>
            <a:r>
              <a:rPr lang="en-US" sz="2396" spc="-35" dirty="0">
                <a:latin typeface="Calibri" panose="020F0502020204030204" pitchFamily="34" charset="0"/>
                <a:cs typeface="Segoe UI Light"/>
              </a:rPr>
              <a:t>Price (in 1000s </a:t>
            </a:r>
            <a:r>
              <a:rPr sz="2396" spc="-35" dirty="0">
                <a:latin typeface="Calibri" panose="020F0502020204030204" pitchFamily="34" charset="0"/>
                <a:cs typeface="Segoe UI Light"/>
              </a:rPr>
              <a:t>of  </a:t>
            </a:r>
            <a:r>
              <a:rPr sz="2396" spc="-5" dirty="0">
                <a:latin typeface="Segoe UI Light" panose="020B0502040204020203" pitchFamily="34" charset="0"/>
                <a:cs typeface="Segoe UI Light" panose="020B0502040204020203" pitchFamily="34" charset="0"/>
              </a:rPr>
              <a:t>dolla</a:t>
            </a:r>
            <a:r>
              <a:rPr sz="2396" spc="20" dirty="0">
                <a:latin typeface="Segoe UI Light" panose="020B0502040204020203" pitchFamily="34" charset="0"/>
                <a:cs typeface="Segoe UI Light" panose="020B0502040204020203" pitchFamily="34" charset="0"/>
              </a:rPr>
              <a:t>r</a:t>
            </a:r>
            <a:r>
              <a:rPr sz="2396" spc="-5" dirty="0">
                <a:latin typeface="Segoe UI Light" panose="020B0502040204020203" pitchFamily="34" charset="0"/>
                <a:cs typeface="Segoe UI Light" panose="020B0502040204020203" pitchFamily="34" charset="0"/>
              </a:rPr>
              <a:t>s</a:t>
            </a:r>
            <a:r>
              <a:rPr sz="2396" spc="-5" dirty="0">
                <a:latin typeface="Calibri" panose="020F0502020204030204" pitchFamily="34" charset="0"/>
                <a:cs typeface="Segoe UI Light"/>
              </a:rPr>
              <a:t>)</a:t>
            </a:r>
            <a:endParaRPr sz="2396" dirty="0">
              <a:latin typeface="Calibri" panose="020F0502020204030204" pitchFamily="34" charset="0"/>
              <a:cs typeface="Segoe UI Light"/>
            </a:endParaRPr>
          </a:p>
        </p:txBody>
      </p:sp>
      <p:sp>
        <p:nvSpPr>
          <p:cNvPr id="133" name="object 121"/>
          <p:cNvSpPr txBox="1"/>
          <p:nvPr/>
        </p:nvSpPr>
        <p:spPr>
          <a:xfrm>
            <a:off x="5825863" y="5822645"/>
            <a:ext cx="1374135" cy="276487"/>
          </a:xfrm>
          <a:prstGeom prst="rect">
            <a:avLst/>
          </a:prstGeom>
        </p:spPr>
        <p:txBody>
          <a:bodyPr vert="horz" wrap="square" lIns="0" tIns="0" rIns="0" bIns="0" rtlCol="0">
            <a:spAutoFit/>
          </a:bodyPr>
          <a:lstStyle/>
          <a:p>
            <a:pPr marL="12677" defTabSz="912754"/>
            <a:r>
              <a:rPr sz="1797" spc="-5" dirty="0">
                <a:solidFill>
                  <a:srgbClr val="000000"/>
                </a:solidFill>
                <a:latin typeface="Segoe UI Light" panose="020B0502040204020203" pitchFamily="34" charset="0"/>
                <a:cs typeface="Segoe UI Light" panose="020B0502040204020203" pitchFamily="34" charset="0"/>
              </a:rPr>
              <a:t>Size</a:t>
            </a:r>
            <a:r>
              <a:rPr sz="1797" spc="-80" dirty="0">
                <a:solidFill>
                  <a:srgbClr val="000000"/>
                </a:solidFill>
                <a:latin typeface="Segoe UI Light" panose="020B0502040204020203" pitchFamily="34" charset="0"/>
                <a:cs typeface="Segoe UI Light" panose="020B0502040204020203" pitchFamily="34" charset="0"/>
              </a:rPr>
              <a:t> </a:t>
            </a:r>
            <a:r>
              <a:rPr sz="1797" spc="-5" dirty="0">
                <a:solidFill>
                  <a:srgbClr val="000000"/>
                </a:solidFill>
                <a:latin typeface="Segoe UI Light" panose="020B0502040204020203" pitchFamily="34" charset="0"/>
                <a:cs typeface="Segoe UI Light" panose="020B0502040204020203" pitchFamily="34" charset="0"/>
              </a:rPr>
              <a:t>(feet</a:t>
            </a:r>
            <a:r>
              <a:rPr sz="1797" spc="-7" baseline="24305" dirty="0">
                <a:solidFill>
                  <a:srgbClr val="000000"/>
                </a:solidFill>
                <a:latin typeface="Segoe UI Light" panose="020B0502040204020203" pitchFamily="34" charset="0"/>
                <a:cs typeface="Segoe UI Light" panose="020B0502040204020203" pitchFamily="34" charset="0"/>
              </a:rPr>
              <a:t>2</a:t>
            </a:r>
            <a:r>
              <a:rPr sz="1797" spc="-5" dirty="0">
                <a:solidFill>
                  <a:srgbClr val="000000"/>
                </a:solidFill>
                <a:latin typeface="Segoe UI Light" panose="020B0502040204020203" pitchFamily="34" charset="0"/>
                <a:cs typeface="Segoe UI Light" panose="020B0502040204020203" pitchFamily="34" charset="0"/>
              </a:rPr>
              <a:t>)</a:t>
            </a:r>
            <a:endParaRPr sz="1797" dirty="0">
              <a:solidFill>
                <a:srgbClr val="000000"/>
              </a:solidFill>
              <a:latin typeface="Segoe UI Light" panose="020B0502040204020203" pitchFamily="34" charset="0"/>
              <a:cs typeface="Segoe UI Light" panose="020B0502040204020203" pitchFamily="34" charset="0"/>
            </a:endParaRPr>
          </a:p>
        </p:txBody>
      </p:sp>
      <p:sp>
        <p:nvSpPr>
          <p:cNvPr id="2" name="TextBox 1"/>
          <p:cNvSpPr txBox="1"/>
          <p:nvPr/>
        </p:nvSpPr>
        <p:spPr>
          <a:xfrm>
            <a:off x="2798560" y="3370123"/>
            <a:ext cx="534734" cy="368649"/>
          </a:xfrm>
          <a:prstGeom prst="rect">
            <a:avLst/>
          </a:prstGeom>
          <a:noFill/>
        </p:spPr>
        <p:txBody>
          <a:bodyPr wrap="none" rtlCol="0">
            <a:spAutoFit/>
          </a:bodyPr>
          <a:lstStyle/>
          <a:p>
            <a:pPr defTabSz="912754"/>
            <a:r>
              <a:rPr lang="en-US" sz="1797" dirty="0">
                <a:solidFill>
                  <a:srgbClr val="000000"/>
                </a:solidFill>
                <a:latin typeface="Calibri" panose="020F0502020204030204" pitchFamily="34" charset="0"/>
              </a:rPr>
              <a:t>300</a:t>
            </a:r>
          </a:p>
        </p:txBody>
      </p:sp>
      <p:sp>
        <p:nvSpPr>
          <p:cNvPr id="3" name="TextBox 2"/>
          <p:cNvSpPr txBox="1"/>
          <p:nvPr/>
        </p:nvSpPr>
        <p:spPr>
          <a:xfrm>
            <a:off x="1981387" y="1400292"/>
            <a:ext cx="2460930" cy="461024"/>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HOUSING PRICES</a:t>
            </a:r>
          </a:p>
        </p:txBody>
      </p:sp>
      <p:sp>
        <p:nvSpPr>
          <p:cNvPr id="5" name="Slide Number Placeholder 4"/>
          <p:cNvSpPr>
            <a:spLocks noGrp="1"/>
          </p:cNvSpPr>
          <p:nvPr>
            <p:ph type="sldNum" sz="quarter" idx="12"/>
          </p:nvPr>
        </p:nvSpPr>
        <p:spPr/>
        <p:txBody>
          <a:bodyPr/>
          <a:lstStyle/>
          <a:p>
            <a:fld id="{3847DB54-D037-B84F-B6F1-2E8DA40D09AD}" type="slidenum">
              <a:rPr lang="en-US" smtClean="0"/>
              <a:pPr/>
              <a:t>5</a:t>
            </a:fld>
            <a:endParaRPr lang="en-US"/>
          </a:p>
        </p:txBody>
      </p:sp>
    </p:spTree>
    <p:extLst>
      <p:ext uri="{BB962C8B-B14F-4D97-AF65-F5344CB8AC3E}">
        <p14:creationId xmlns:p14="http://schemas.microsoft.com/office/powerpoint/2010/main" val="339747532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lassifier Performance </a:t>
            </a:r>
          </a:p>
        </p:txBody>
      </p:sp>
      <p:sp>
        <p:nvSpPr>
          <p:cNvPr id="8" name="TextBox 7"/>
          <p:cNvSpPr txBox="1"/>
          <p:nvPr/>
        </p:nvSpPr>
        <p:spPr>
          <a:xfrm>
            <a:off x="960792" y="1243681"/>
            <a:ext cx="10119758" cy="829458"/>
          </a:xfrm>
          <a:prstGeom prst="rect">
            <a:avLst/>
          </a:prstGeom>
          <a:noFill/>
        </p:spPr>
        <p:txBody>
          <a:bodyPr wrap="none" rtlCol="0">
            <a:spAutoFit/>
          </a:bodyPr>
          <a:lstStyle/>
          <a:p>
            <a:pPr defTabSz="896112"/>
            <a:r>
              <a:rPr lang="en-US" sz="2395" dirty="0">
                <a:solidFill>
                  <a:srgbClr val="646464"/>
                </a:solidFill>
              </a:rPr>
              <a:t>Bike-buyer detection , tested 1,207 cases on a trained classification model</a:t>
            </a:r>
          </a:p>
          <a:p>
            <a:pPr defTabSz="896112"/>
            <a:endParaRPr lang="en-US" sz="2395" dirty="0">
              <a:solidFill>
                <a:srgbClr val="646464"/>
              </a:solidFill>
            </a:endParaRPr>
          </a:p>
        </p:txBody>
      </p:sp>
      <p:graphicFrame>
        <p:nvGraphicFramePr>
          <p:cNvPr id="10" name="Table 9"/>
          <p:cNvGraphicFramePr>
            <a:graphicFrameLocks noGrp="1"/>
          </p:cNvGraphicFramePr>
          <p:nvPr>
            <p:extLst/>
          </p:nvPr>
        </p:nvGraphicFramePr>
        <p:xfrm>
          <a:off x="960792" y="2544565"/>
          <a:ext cx="8462845" cy="2998364"/>
        </p:xfrm>
        <a:graphic>
          <a:graphicData uri="http://schemas.openxmlformats.org/drawingml/2006/table">
            <a:tbl>
              <a:tblPr firstRow="1" bandRow="1">
                <a:tableStyleId>{5C22544A-7EE6-4342-B048-85BDC9FD1C3A}</a:tableStyleId>
              </a:tblPr>
              <a:tblGrid>
                <a:gridCol w="3497937">
                  <a:extLst>
                    <a:ext uri="{9D8B030D-6E8A-4147-A177-3AD203B41FA5}">
                      <a16:colId xmlns:a16="http://schemas.microsoft.com/office/drawing/2014/main" val="20000"/>
                    </a:ext>
                  </a:extLst>
                </a:gridCol>
                <a:gridCol w="2143960">
                  <a:extLst>
                    <a:ext uri="{9D8B030D-6E8A-4147-A177-3AD203B41FA5}">
                      <a16:colId xmlns:a16="http://schemas.microsoft.com/office/drawing/2014/main" val="20001"/>
                    </a:ext>
                  </a:extLst>
                </a:gridCol>
                <a:gridCol w="2820948">
                  <a:extLst>
                    <a:ext uri="{9D8B030D-6E8A-4147-A177-3AD203B41FA5}">
                      <a16:colId xmlns:a16="http://schemas.microsoft.com/office/drawing/2014/main" val="20002"/>
                    </a:ext>
                  </a:extLst>
                </a:gridCol>
              </a:tblGrid>
              <a:tr h="394407">
                <a:tc rowSpan="2">
                  <a:txBody>
                    <a:bodyPr/>
                    <a:lstStyle/>
                    <a:p>
                      <a:pPr algn="ctr"/>
                      <a:r>
                        <a:rPr lang="nl-NL" sz="2000" dirty="0">
                          <a:solidFill>
                            <a:schemeClr val="bg1"/>
                          </a:solidFill>
                          <a:latin typeface="Calibri" panose="020F0502020204030204" pitchFamily="34" charset="0"/>
                        </a:rPr>
                        <a:t>True Label</a:t>
                      </a:r>
                      <a:endParaRPr lang="en-US" sz="2000" dirty="0">
                        <a:solidFill>
                          <a:schemeClr val="bg1"/>
                        </a:solidFill>
                        <a:latin typeface="Calibri" panose="020F0502020204030204" pitchFamily="34" charset="0"/>
                      </a:endParaRPr>
                    </a:p>
                  </a:txBody>
                  <a:tcPr marL="89615" marR="89615" marT="44807" marB="44807" anchor="ctr">
                    <a:solidFill>
                      <a:schemeClr val="bg2">
                        <a:lumMod val="50000"/>
                      </a:schemeClr>
                    </a:solidFill>
                  </a:tcPr>
                </a:tc>
                <a:tc gridSpan="2">
                  <a:txBody>
                    <a:bodyPr/>
                    <a:lstStyle/>
                    <a:p>
                      <a:pPr algn="ctr"/>
                      <a:r>
                        <a:rPr lang="nl-NL" sz="2000" dirty="0">
                          <a:solidFill>
                            <a:schemeClr val="bg1"/>
                          </a:solidFill>
                          <a:latin typeface="Calibri" panose="020F0502020204030204" pitchFamily="34" charset="0"/>
                        </a:rPr>
                        <a:t>Predicted</a:t>
                      </a:r>
                      <a:r>
                        <a:rPr lang="nl-NL" sz="2000" baseline="0" dirty="0">
                          <a:solidFill>
                            <a:schemeClr val="bg1"/>
                          </a:solidFill>
                          <a:latin typeface="Calibri" panose="020F0502020204030204" pitchFamily="34" charset="0"/>
                        </a:rPr>
                        <a:t> Label</a:t>
                      </a:r>
                      <a:endParaRPr lang="en-US" sz="2000" dirty="0">
                        <a:solidFill>
                          <a:schemeClr val="bg1"/>
                        </a:solidFill>
                        <a:latin typeface="Calibri" panose="020F0502020204030204" pitchFamily="34" charset="0"/>
                      </a:endParaRPr>
                    </a:p>
                  </a:txBody>
                  <a:tcPr marL="89615" marR="89615" marT="44807" marB="44807">
                    <a:solidFill>
                      <a:schemeClr val="bg2">
                        <a:lumMod val="50000"/>
                      </a:schemeClr>
                    </a:solidFill>
                  </a:tcPr>
                </a:tc>
                <a:tc hMerge="1">
                  <a:txBody>
                    <a:bodyPr/>
                    <a:lstStyle/>
                    <a:p>
                      <a:pPr algn="ctr"/>
                      <a:endParaRPr lang="en-US" sz="2000" dirty="0">
                        <a:solidFill>
                          <a:schemeClr val="tx2"/>
                        </a:solidFill>
                        <a:latin typeface="Calibri" panose="020F0502020204030204" pitchFamily="34" charset="0"/>
                      </a:endParaRPr>
                    </a:p>
                  </a:txBody>
                  <a:tcPr/>
                </a:tc>
                <a:extLst>
                  <a:ext uri="{0D108BD9-81ED-4DB2-BD59-A6C34878D82A}">
                    <a16:rowId xmlns:a16="http://schemas.microsoft.com/office/drawing/2014/main" val="10000"/>
                  </a:ext>
                </a:extLst>
              </a:tr>
              <a:tr h="985760">
                <a:tc vMerge="1">
                  <a:txBody>
                    <a:bodyPr/>
                    <a:lstStyle/>
                    <a:p>
                      <a:pPr algn="ctr"/>
                      <a:endParaRPr lang="en-US" sz="2000" dirty="0">
                        <a:solidFill>
                          <a:schemeClr val="tx2"/>
                        </a:solidFill>
                        <a:latin typeface="Calibri" panose="020F0502020204030204" pitchFamily="34" charset="0"/>
                      </a:endParaRPr>
                    </a:p>
                  </a:txBody>
                  <a:tcPr/>
                </a:tc>
                <a:tc>
                  <a:txBody>
                    <a:bodyPr/>
                    <a:lstStyle/>
                    <a:p>
                      <a:pPr algn="ctr"/>
                      <a:r>
                        <a:rPr lang="en-US" sz="2000" b="1" dirty="0">
                          <a:solidFill>
                            <a:schemeClr val="bg1"/>
                          </a:solidFill>
                          <a:latin typeface="Calibri" panose="020F0502020204030204" pitchFamily="34" charset="0"/>
                        </a:rPr>
                        <a:t>1 </a:t>
                      </a:r>
                    </a:p>
                    <a:p>
                      <a:pPr algn="ctr"/>
                      <a:r>
                        <a:rPr lang="en-US" sz="2000" b="1" dirty="0">
                          <a:solidFill>
                            <a:schemeClr val="bg1"/>
                          </a:solidFill>
                          <a:latin typeface="Calibri" panose="020F0502020204030204" pitchFamily="34" charset="0"/>
                        </a:rPr>
                        <a:t>(Predicted</a:t>
                      </a:r>
                      <a:r>
                        <a:rPr lang="en-US" sz="2000" b="1" baseline="0" dirty="0">
                          <a:solidFill>
                            <a:schemeClr val="bg1"/>
                          </a:solidFill>
                          <a:latin typeface="Calibri" panose="020F0502020204030204" pitchFamily="34" charset="0"/>
                        </a:rPr>
                        <a:t> Bike Buyer)</a:t>
                      </a:r>
                      <a:endParaRPr lang="en-US" sz="2000" b="1" dirty="0">
                        <a:solidFill>
                          <a:schemeClr val="bg1"/>
                        </a:solidFill>
                        <a:latin typeface="Calibri" panose="020F0502020204030204" pitchFamily="34" charset="0"/>
                      </a:endParaRPr>
                    </a:p>
                  </a:txBody>
                  <a:tcPr marL="89615" marR="89615" marT="44807" marB="44807">
                    <a:solidFill>
                      <a:schemeClr val="tx2"/>
                    </a:solidFill>
                  </a:tcPr>
                </a:tc>
                <a:tc>
                  <a:txBody>
                    <a:bodyPr/>
                    <a:lstStyle/>
                    <a:p>
                      <a:pPr algn="ctr"/>
                      <a:r>
                        <a:rPr lang="en-US" sz="2000" b="1" dirty="0">
                          <a:solidFill>
                            <a:schemeClr val="bg1"/>
                          </a:solidFill>
                          <a:latin typeface="Calibri" panose="020F0502020204030204" pitchFamily="34" charset="0"/>
                        </a:rPr>
                        <a:t>0 </a:t>
                      </a:r>
                    </a:p>
                    <a:p>
                      <a:pPr algn="ctr"/>
                      <a:r>
                        <a:rPr lang="en-US" sz="2000" b="1" dirty="0">
                          <a:solidFill>
                            <a:schemeClr val="bg1"/>
                          </a:solidFill>
                          <a:latin typeface="Calibri" panose="020F0502020204030204" pitchFamily="34" charset="0"/>
                        </a:rPr>
                        <a:t>(Predicted Non-bike Buyer)</a:t>
                      </a:r>
                    </a:p>
                  </a:txBody>
                  <a:tcPr marL="89615" marR="89615" marT="44807" marB="44807">
                    <a:solidFill>
                      <a:schemeClr val="tx2"/>
                    </a:solidFill>
                  </a:tcPr>
                </a:tc>
                <a:extLst>
                  <a:ext uri="{0D108BD9-81ED-4DB2-BD59-A6C34878D82A}">
                    <a16:rowId xmlns:a16="http://schemas.microsoft.com/office/drawing/2014/main" val="10001"/>
                  </a:ext>
                </a:extLst>
              </a:tr>
              <a:tr h="687045">
                <a:tc>
                  <a:txBody>
                    <a:bodyPr/>
                    <a:lstStyle/>
                    <a:p>
                      <a:pPr algn="ctr"/>
                      <a:r>
                        <a:rPr lang="en-US" sz="2000" b="1" dirty="0">
                          <a:solidFill>
                            <a:schemeClr val="bg1"/>
                          </a:solidFill>
                          <a:latin typeface="Calibri" panose="020F0502020204030204" pitchFamily="34" charset="0"/>
                        </a:rPr>
                        <a:t>1 </a:t>
                      </a:r>
                    </a:p>
                    <a:p>
                      <a:pPr algn="ctr"/>
                      <a:r>
                        <a:rPr lang="en-US" sz="2000" b="1" dirty="0">
                          <a:solidFill>
                            <a:schemeClr val="bg1"/>
                          </a:solidFill>
                          <a:latin typeface="Calibri" panose="020F0502020204030204" pitchFamily="34" charset="0"/>
                        </a:rPr>
                        <a:t>(Actual Bike-Buyer)</a:t>
                      </a:r>
                    </a:p>
                  </a:txBody>
                  <a:tcPr marL="89615" marR="89615" marT="44807" marB="44807">
                    <a:solidFill>
                      <a:schemeClr val="tx2"/>
                    </a:solidFill>
                  </a:tcPr>
                </a:tc>
                <a:tc>
                  <a:txBody>
                    <a:bodyPr/>
                    <a:lstStyle/>
                    <a:p>
                      <a:pPr algn="ctr"/>
                      <a:r>
                        <a:rPr lang="en-US" sz="2000" dirty="0">
                          <a:solidFill>
                            <a:schemeClr val="tx1"/>
                          </a:solidFill>
                          <a:latin typeface="Calibri" panose="020F0502020204030204" pitchFamily="34" charset="0"/>
                        </a:rPr>
                        <a:t>506 </a:t>
                      </a:r>
                    </a:p>
                    <a:p>
                      <a:pPr algn="ctr"/>
                      <a:r>
                        <a:rPr lang="en-US" sz="2000" dirty="0">
                          <a:solidFill>
                            <a:schemeClr val="tx1"/>
                          </a:solidFill>
                          <a:latin typeface="Calibri" panose="020F0502020204030204" pitchFamily="34" charset="0"/>
                        </a:rPr>
                        <a:t>True Positive (TP)</a:t>
                      </a:r>
                    </a:p>
                  </a:txBody>
                  <a:tcPr marL="89615" marR="89615" marT="44807" marB="44807">
                    <a:solidFill>
                      <a:schemeClr val="bg2">
                        <a:lumMod val="20000"/>
                        <a:lumOff val="80000"/>
                      </a:schemeClr>
                    </a:solidFill>
                  </a:tcPr>
                </a:tc>
                <a:tc>
                  <a:txBody>
                    <a:bodyPr/>
                    <a:lstStyle/>
                    <a:p>
                      <a:pPr algn="ctr"/>
                      <a:r>
                        <a:rPr lang="en-US" sz="2000" dirty="0">
                          <a:solidFill>
                            <a:schemeClr val="tx1"/>
                          </a:solidFill>
                          <a:latin typeface="Calibri" panose="020F0502020204030204" pitchFamily="34" charset="0"/>
                        </a:rPr>
                        <a:t>112 </a:t>
                      </a:r>
                    </a:p>
                    <a:p>
                      <a:pPr algn="ctr"/>
                      <a:r>
                        <a:rPr lang="en-US" sz="2000" dirty="0">
                          <a:solidFill>
                            <a:schemeClr val="tx1"/>
                          </a:solidFill>
                          <a:latin typeface="Calibri" panose="020F0502020204030204" pitchFamily="34" charset="0"/>
                        </a:rPr>
                        <a:t>False Negative (FN)</a:t>
                      </a:r>
                    </a:p>
                  </a:txBody>
                  <a:tcPr marL="89615" marR="89615" marT="44807" marB="44807">
                    <a:solidFill>
                      <a:schemeClr val="bg2">
                        <a:lumMod val="20000"/>
                        <a:lumOff val="80000"/>
                      </a:schemeClr>
                    </a:solidFill>
                  </a:tcPr>
                </a:tc>
                <a:extLst>
                  <a:ext uri="{0D108BD9-81ED-4DB2-BD59-A6C34878D82A}">
                    <a16:rowId xmlns:a16="http://schemas.microsoft.com/office/drawing/2014/main" val="10002"/>
                  </a:ext>
                </a:extLst>
              </a:tr>
              <a:tr h="900722">
                <a:tc>
                  <a:txBody>
                    <a:bodyPr/>
                    <a:lstStyle/>
                    <a:p>
                      <a:pPr algn="ctr"/>
                      <a:r>
                        <a:rPr lang="en-US" sz="2000" b="1" dirty="0">
                          <a:solidFill>
                            <a:schemeClr val="bg1"/>
                          </a:solidFill>
                          <a:latin typeface="Calibri" panose="020F0502020204030204" pitchFamily="34" charset="0"/>
                        </a:rPr>
                        <a:t>0 </a:t>
                      </a:r>
                    </a:p>
                    <a:p>
                      <a:pPr algn="ctr"/>
                      <a:r>
                        <a:rPr lang="en-US" sz="2000" b="1" dirty="0">
                          <a:solidFill>
                            <a:schemeClr val="bg1"/>
                          </a:solidFill>
                          <a:latin typeface="Calibri" panose="020F0502020204030204" pitchFamily="34" charset="0"/>
                        </a:rPr>
                        <a:t>(Actual Non- Bike Buyer)</a:t>
                      </a:r>
                    </a:p>
                  </a:txBody>
                  <a:tcPr marL="89615" marR="89615" marT="44807" marB="44807">
                    <a:solidFill>
                      <a:schemeClr val="tx2"/>
                    </a:solidFill>
                  </a:tcPr>
                </a:tc>
                <a:tc>
                  <a:txBody>
                    <a:bodyPr/>
                    <a:lstStyle/>
                    <a:p>
                      <a:pPr algn="ctr"/>
                      <a:r>
                        <a:rPr lang="en-US" sz="2000" dirty="0">
                          <a:solidFill>
                            <a:schemeClr val="tx1"/>
                          </a:solidFill>
                          <a:latin typeface="Calibri" panose="020F0502020204030204" pitchFamily="34" charset="0"/>
                        </a:rPr>
                        <a:t>169 </a:t>
                      </a:r>
                    </a:p>
                    <a:p>
                      <a:pPr algn="ctr"/>
                      <a:r>
                        <a:rPr lang="en-US" sz="2000" dirty="0">
                          <a:solidFill>
                            <a:schemeClr val="tx1"/>
                          </a:solidFill>
                          <a:latin typeface="Calibri" panose="020F0502020204030204" pitchFamily="34" charset="0"/>
                        </a:rPr>
                        <a:t>False Positive</a:t>
                      </a:r>
                      <a:r>
                        <a:rPr lang="en-US" sz="2000" baseline="0" dirty="0">
                          <a:solidFill>
                            <a:schemeClr val="tx1"/>
                          </a:solidFill>
                          <a:latin typeface="Calibri" panose="020F0502020204030204" pitchFamily="34" charset="0"/>
                        </a:rPr>
                        <a:t> (FP)</a:t>
                      </a:r>
                      <a:endParaRPr lang="en-US" sz="2000" dirty="0">
                        <a:solidFill>
                          <a:schemeClr val="tx1"/>
                        </a:solidFill>
                        <a:latin typeface="Calibri" panose="020F0502020204030204" pitchFamily="34" charset="0"/>
                      </a:endParaRPr>
                    </a:p>
                  </a:txBody>
                  <a:tcPr marL="89615" marR="89615" marT="44807" marB="44807">
                    <a:solidFill>
                      <a:schemeClr val="bg2">
                        <a:lumMod val="20000"/>
                        <a:lumOff val="80000"/>
                      </a:schemeClr>
                    </a:solidFill>
                  </a:tcPr>
                </a:tc>
                <a:tc>
                  <a:txBody>
                    <a:bodyPr/>
                    <a:lstStyle/>
                    <a:p>
                      <a:pPr algn="ctr"/>
                      <a:r>
                        <a:rPr lang="en-US" sz="2000" dirty="0">
                          <a:solidFill>
                            <a:schemeClr val="tx1"/>
                          </a:solidFill>
                          <a:latin typeface="Calibri" panose="020F0502020204030204" pitchFamily="34" charset="0"/>
                        </a:rPr>
                        <a:t>420 </a:t>
                      </a:r>
                    </a:p>
                    <a:p>
                      <a:pPr algn="ctr"/>
                      <a:r>
                        <a:rPr lang="en-US" sz="2000" dirty="0">
                          <a:solidFill>
                            <a:schemeClr val="tx1"/>
                          </a:solidFill>
                          <a:latin typeface="Calibri" panose="020F0502020204030204" pitchFamily="34" charset="0"/>
                        </a:rPr>
                        <a:t>True Negative (TN)</a:t>
                      </a:r>
                    </a:p>
                  </a:txBody>
                  <a:tcPr marL="89615" marR="89615" marT="44807" marB="44807">
                    <a:solidFill>
                      <a:schemeClr val="bg2">
                        <a:lumMod val="20000"/>
                        <a:lumOff val="80000"/>
                      </a:schemeClr>
                    </a:solidFill>
                  </a:tcPr>
                </a:tc>
                <a:extLst>
                  <a:ext uri="{0D108BD9-81ED-4DB2-BD59-A6C34878D82A}">
                    <a16:rowId xmlns:a16="http://schemas.microsoft.com/office/drawing/2014/main" val="10003"/>
                  </a:ext>
                </a:extLst>
              </a:tr>
            </a:tbl>
          </a:graphicData>
        </a:graphic>
      </p:graphicFrame>
      <p:pic>
        <p:nvPicPr>
          <p:cNvPr id="12" name="Picture 11"/>
          <p:cNvPicPr>
            <a:picLocks noChangeAspect="1"/>
          </p:cNvPicPr>
          <p:nvPr/>
        </p:nvPicPr>
        <p:blipFill>
          <a:blip r:embed="rId2"/>
          <a:stretch>
            <a:fillRect/>
          </a:stretch>
        </p:blipFill>
        <p:spPr>
          <a:xfrm>
            <a:off x="9572994" y="1974766"/>
            <a:ext cx="1586549" cy="3537732"/>
          </a:xfrm>
          <a:prstGeom prst="rect">
            <a:avLst/>
          </a:prstGeom>
        </p:spPr>
      </p:pic>
      <p:sp>
        <p:nvSpPr>
          <p:cNvPr id="2" name="Rectangle 1"/>
          <p:cNvSpPr/>
          <p:nvPr/>
        </p:nvSpPr>
        <p:spPr>
          <a:xfrm>
            <a:off x="984682" y="1974766"/>
            <a:ext cx="3232786" cy="479437"/>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a:r>
              <a:rPr lang="nl-NL" sz="1960" dirty="0">
                <a:solidFill>
                  <a:srgbClr val="FFFFFF"/>
                </a:solidFill>
              </a:rPr>
              <a:t>Confusion Matrix</a:t>
            </a:r>
            <a:endParaRPr lang="en-US" sz="1960" dirty="0">
              <a:solidFill>
                <a:srgbClr val="FFFFFF"/>
              </a:solidFill>
            </a:endParaRPr>
          </a:p>
        </p:txBody>
      </p:sp>
      <p:sp>
        <p:nvSpPr>
          <p:cNvPr id="3" name="Slide Number Placeholder 2"/>
          <p:cNvSpPr>
            <a:spLocks noGrp="1"/>
          </p:cNvSpPr>
          <p:nvPr>
            <p:ph type="sldNum" sz="quarter" idx="12"/>
          </p:nvPr>
        </p:nvSpPr>
        <p:spPr/>
        <p:txBody>
          <a:bodyPr/>
          <a:lstStyle/>
          <a:p>
            <a:fld id="{3847DB54-D037-B84F-B6F1-2E8DA40D09AD}" type="slidenum">
              <a:rPr lang="en-US" smtClean="0"/>
              <a:pPr/>
              <a:t>50</a:t>
            </a:fld>
            <a:endParaRPr lang="en-US"/>
          </a:p>
        </p:txBody>
      </p:sp>
    </p:spTree>
    <p:extLst>
      <p:ext uri="{BB962C8B-B14F-4D97-AF65-F5344CB8AC3E}">
        <p14:creationId xmlns:p14="http://schemas.microsoft.com/office/powerpoint/2010/main" val="233397991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txBox="1">
            <a:spLocks noGrp="1"/>
          </p:cNvSpPr>
          <p:nvPr>
            <p:ph type="sldNum" sz="quarter" idx="12"/>
          </p:nvPr>
        </p:nvSpPr>
        <p:spPr>
          <a:xfrm>
            <a:off x="11231207" y="6356350"/>
            <a:ext cx="495656" cy="365125"/>
          </a:xfrm>
          <a:prstGeom prst="rect">
            <a:avLst/>
          </a:prstGeom>
        </p:spPr>
        <p:txBody>
          <a:bodyPr vert="horz" wrap="square" lIns="0" tIns="0" rIns="0" bIns="0" rtlCol="0" anchor="b">
            <a:spAutoFit/>
          </a:bodyPr>
          <a:lstStyle/>
          <a:p>
            <a:pPr marL="24892" defTabSz="896112">
              <a:lnSpc>
                <a:spcPts val="1210"/>
              </a:lnSpc>
            </a:pPr>
            <a:fld id="{81D60167-4931-47E6-BA6A-407CBD079E47}" type="slidenum">
              <a:rPr spc="15" dirty="0">
                <a:solidFill>
                  <a:srgbClr val="464646"/>
                </a:solidFill>
                <a:latin typeface="Arial"/>
              </a:rPr>
              <a:pPr marL="24892" defTabSz="896112">
                <a:lnSpc>
                  <a:spcPts val="1210"/>
                </a:lnSpc>
              </a:pPr>
              <a:t>51</a:t>
            </a:fld>
            <a:endParaRPr spc="15" dirty="0">
              <a:solidFill>
                <a:srgbClr val="464646"/>
              </a:solidFill>
              <a:latin typeface="Arial"/>
            </a:endParaRPr>
          </a:p>
        </p:txBody>
      </p:sp>
      <p:sp>
        <p:nvSpPr>
          <p:cNvPr id="22" name="Title 5"/>
          <p:cNvSpPr txBox="1">
            <a:spLocks/>
          </p:cNvSpPr>
          <p:nvPr/>
        </p:nvSpPr>
        <p:spPr bwMode="auto">
          <a:xfrm>
            <a:off x="960792" y="415079"/>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0000"/>
              </a:lnSpc>
              <a:spcBef>
                <a:spcPct val="0"/>
              </a:spcBef>
              <a:spcAft>
                <a:spcPct val="30000"/>
              </a:spcAft>
              <a:defRPr sz="1683">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rgbClr val="595959"/>
                </a:solidFill>
                <a:latin typeface="Segoe UI Light" panose="020B0502040204020203" pitchFamily="34" charset="0"/>
                <a:cs typeface="Segoe UI Light" panose="020B0502040204020203" pitchFamily="34" charset="0"/>
              </a:rPr>
              <a:t>Accuracy</a:t>
            </a:r>
          </a:p>
        </p:txBody>
      </p:sp>
      <p:sp>
        <p:nvSpPr>
          <p:cNvPr id="24" name="TextBox 23"/>
          <p:cNvSpPr txBox="1"/>
          <p:nvPr/>
        </p:nvSpPr>
        <p:spPr>
          <a:xfrm>
            <a:off x="960792" y="1329478"/>
            <a:ext cx="8845691" cy="1198020"/>
          </a:xfrm>
          <a:prstGeom prst="rect">
            <a:avLst/>
          </a:prstGeom>
          <a:noFill/>
        </p:spPr>
        <p:txBody>
          <a:bodyPr wrap="none" rtlCol="0">
            <a:spAutoFit/>
          </a:bodyPr>
          <a:lstStyle/>
          <a:p>
            <a:pPr defTabSz="896112"/>
            <a:r>
              <a:rPr lang="en-US" sz="2395" dirty="0">
                <a:solidFill>
                  <a:srgbClr val="646464"/>
                </a:solidFill>
                <a:latin typeface="Segoe UI Light" panose="020B0502040204020203" pitchFamily="34" charset="0"/>
                <a:cs typeface="Segoe UI Light" panose="020B0502040204020203" pitchFamily="34" charset="0"/>
              </a:rPr>
              <a:t>Percentage of predictions that are correct</a:t>
            </a:r>
          </a:p>
          <a:p>
            <a:pPr defTabSz="896112"/>
            <a:r>
              <a:rPr lang="en-US" sz="2395" dirty="0">
                <a:solidFill>
                  <a:srgbClr val="646464"/>
                </a:solidFill>
                <a:latin typeface="Segoe UI Light" panose="020B0502040204020203" pitchFamily="34" charset="0"/>
                <a:cs typeface="Segoe UI Light" panose="020B0502040204020203" pitchFamily="34" charset="0"/>
              </a:rPr>
              <a:t>Accuracy= (TP+ TN)/ (total test count)</a:t>
            </a:r>
          </a:p>
          <a:p>
            <a:pPr defTabSz="896112"/>
            <a:r>
              <a:rPr lang="en-US" sz="2395" dirty="0">
                <a:solidFill>
                  <a:srgbClr val="646464"/>
                </a:solidFill>
                <a:latin typeface="Segoe UI Light" panose="020B0502040204020203" pitchFamily="34" charset="0"/>
                <a:cs typeface="Segoe UI Light" panose="020B0502040204020203" pitchFamily="34" charset="0"/>
              </a:rPr>
              <a:t>For this example, Accuracy= (506+ 420)/ (506+112+169+420)= </a:t>
            </a:r>
            <a:r>
              <a:rPr lang="en-US" sz="2395" dirty="0">
                <a:solidFill>
                  <a:srgbClr val="FF5800"/>
                </a:solidFill>
                <a:latin typeface="Segoe UI Light" panose="020B0502040204020203" pitchFamily="34" charset="0"/>
                <a:cs typeface="Segoe UI Light" panose="020B0502040204020203" pitchFamily="34" charset="0"/>
              </a:rPr>
              <a:t>0.76</a:t>
            </a:r>
          </a:p>
        </p:txBody>
      </p:sp>
      <p:graphicFrame>
        <p:nvGraphicFramePr>
          <p:cNvPr id="2" name="Table 1"/>
          <p:cNvGraphicFramePr>
            <a:graphicFrameLocks noGrp="1"/>
          </p:cNvGraphicFramePr>
          <p:nvPr>
            <p:extLst/>
          </p:nvPr>
        </p:nvGraphicFramePr>
        <p:xfrm>
          <a:off x="1723208" y="2759728"/>
          <a:ext cx="8462845" cy="2998364"/>
        </p:xfrm>
        <a:graphic>
          <a:graphicData uri="http://schemas.openxmlformats.org/drawingml/2006/table">
            <a:tbl>
              <a:tblPr firstRow="1" bandRow="1">
                <a:tableStyleId>{5C22544A-7EE6-4342-B048-85BDC9FD1C3A}</a:tableStyleId>
              </a:tblPr>
              <a:tblGrid>
                <a:gridCol w="3497937">
                  <a:extLst>
                    <a:ext uri="{9D8B030D-6E8A-4147-A177-3AD203B41FA5}">
                      <a16:colId xmlns:a16="http://schemas.microsoft.com/office/drawing/2014/main" val="20000"/>
                    </a:ext>
                  </a:extLst>
                </a:gridCol>
                <a:gridCol w="2143960">
                  <a:extLst>
                    <a:ext uri="{9D8B030D-6E8A-4147-A177-3AD203B41FA5}">
                      <a16:colId xmlns:a16="http://schemas.microsoft.com/office/drawing/2014/main" val="20001"/>
                    </a:ext>
                  </a:extLst>
                </a:gridCol>
                <a:gridCol w="2820948">
                  <a:extLst>
                    <a:ext uri="{9D8B030D-6E8A-4147-A177-3AD203B41FA5}">
                      <a16:colId xmlns:a16="http://schemas.microsoft.com/office/drawing/2014/main" val="20002"/>
                    </a:ext>
                  </a:extLst>
                </a:gridCol>
              </a:tblGrid>
              <a:tr h="394407">
                <a:tc rowSpan="2">
                  <a:txBody>
                    <a:bodyPr/>
                    <a:lstStyle/>
                    <a:p>
                      <a:pPr algn="ctr"/>
                      <a:r>
                        <a:rPr lang="nl-NL" sz="2000" dirty="0">
                          <a:solidFill>
                            <a:schemeClr val="bg1"/>
                          </a:solidFill>
                          <a:latin typeface="Calibri" panose="020F0502020204030204" pitchFamily="34" charset="0"/>
                        </a:rPr>
                        <a:t>True Labels</a:t>
                      </a:r>
                      <a:endParaRPr lang="en-US" sz="2000" dirty="0">
                        <a:solidFill>
                          <a:schemeClr val="bg1"/>
                        </a:solidFill>
                        <a:latin typeface="Calibri" panose="020F0502020204030204" pitchFamily="34" charset="0"/>
                      </a:endParaRPr>
                    </a:p>
                  </a:txBody>
                  <a:tcPr marL="89615" marR="89615" marT="44807" marB="44807" anchor="ctr">
                    <a:solidFill>
                      <a:schemeClr val="bg2">
                        <a:lumMod val="50000"/>
                      </a:schemeClr>
                    </a:solidFill>
                  </a:tcPr>
                </a:tc>
                <a:tc gridSpan="2">
                  <a:txBody>
                    <a:bodyPr/>
                    <a:lstStyle/>
                    <a:p>
                      <a:pPr algn="ctr"/>
                      <a:r>
                        <a:rPr lang="nl-NL" sz="2000" dirty="0">
                          <a:solidFill>
                            <a:schemeClr val="bg1"/>
                          </a:solidFill>
                          <a:latin typeface="Calibri" panose="020F0502020204030204" pitchFamily="34" charset="0"/>
                        </a:rPr>
                        <a:t>Predicted</a:t>
                      </a:r>
                      <a:r>
                        <a:rPr lang="nl-NL" sz="2000" baseline="0" dirty="0">
                          <a:solidFill>
                            <a:schemeClr val="bg1"/>
                          </a:solidFill>
                          <a:latin typeface="Calibri" panose="020F0502020204030204" pitchFamily="34" charset="0"/>
                        </a:rPr>
                        <a:t> Label</a:t>
                      </a:r>
                      <a:endParaRPr lang="en-US" sz="2000" dirty="0">
                        <a:solidFill>
                          <a:schemeClr val="bg1"/>
                        </a:solidFill>
                        <a:latin typeface="Calibri" panose="020F0502020204030204" pitchFamily="34" charset="0"/>
                      </a:endParaRPr>
                    </a:p>
                  </a:txBody>
                  <a:tcPr marL="89615" marR="89615" marT="44807" marB="44807">
                    <a:solidFill>
                      <a:schemeClr val="bg2">
                        <a:lumMod val="50000"/>
                      </a:schemeClr>
                    </a:solidFill>
                  </a:tcPr>
                </a:tc>
                <a:tc hMerge="1">
                  <a:txBody>
                    <a:bodyPr/>
                    <a:lstStyle/>
                    <a:p>
                      <a:pPr algn="ctr"/>
                      <a:endParaRPr lang="en-US" sz="2000" dirty="0">
                        <a:solidFill>
                          <a:schemeClr val="tx2"/>
                        </a:solidFill>
                        <a:latin typeface="Calibri" panose="020F0502020204030204" pitchFamily="34" charset="0"/>
                      </a:endParaRPr>
                    </a:p>
                  </a:txBody>
                  <a:tcPr/>
                </a:tc>
                <a:extLst>
                  <a:ext uri="{0D108BD9-81ED-4DB2-BD59-A6C34878D82A}">
                    <a16:rowId xmlns:a16="http://schemas.microsoft.com/office/drawing/2014/main" val="10000"/>
                  </a:ext>
                </a:extLst>
              </a:tr>
              <a:tr h="985760">
                <a:tc vMerge="1">
                  <a:txBody>
                    <a:bodyPr/>
                    <a:lstStyle/>
                    <a:p>
                      <a:pPr algn="ctr"/>
                      <a:endParaRPr lang="en-US" sz="2000" dirty="0">
                        <a:solidFill>
                          <a:schemeClr val="tx2"/>
                        </a:solidFill>
                        <a:latin typeface="Calibri" panose="020F0502020204030204" pitchFamily="34" charset="0"/>
                      </a:endParaRPr>
                    </a:p>
                  </a:txBody>
                  <a:tcPr/>
                </a:tc>
                <a:tc>
                  <a:txBody>
                    <a:bodyPr/>
                    <a:lstStyle/>
                    <a:p>
                      <a:pPr algn="ctr"/>
                      <a:r>
                        <a:rPr lang="en-US" sz="2000" b="1" dirty="0">
                          <a:solidFill>
                            <a:schemeClr val="bg1"/>
                          </a:solidFill>
                          <a:latin typeface="Calibri" panose="020F0502020204030204" pitchFamily="34" charset="0"/>
                        </a:rPr>
                        <a:t>1 </a:t>
                      </a:r>
                    </a:p>
                    <a:p>
                      <a:pPr algn="ctr"/>
                      <a:r>
                        <a:rPr lang="en-US" sz="2000" b="1" dirty="0">
                          <a:solidFill>
                            <a:schemeClr val="bg1"/>
                          </a:solidFill>
                          <a:latin typeface="Calibri" panose="020F0502020204030204" pitchFamily="34" charset="0"/>
                        </a:rPr>
                        <a:t>(Predicted</a:t>
                      </a:r>
                      <a:r>
                        <a:rPr lang="en-US" sz="2000" b="1" baseline="0" dirty="0">
                          <a:solidFill>
                            <a:schemeClr val="bg1"/>
                          </a:solidFill>
                          <a:latin typeface="Calibri" panose="020F0502020204030204" pitchFamily="34" charset="0"/>
                        </a:rPr>
                        <a:t> Bike Buyer)</a:t>
                      </a:r>
                      <a:endParaRPr lang="en-US" sz="2000" b="1" dirty="0">
                        <a:solidFill>
                          <a:schemeClr val="bg1"/>
                        </a:solidFill>
                        <a:latin typeface="Calibri" panose="020F0502020204030204" pitchFamily="34" charset="0"/>
                      </a:endParaRPr>
                    </a:p>
                  </a:txBody>
                  <a:tcPr marL="89615" marR="89615" marT="44807" marB="44807">
                    <a:solidFill>
                      <a:schemeClr val="tx2"/>
                    </a:solidFill>
                  </a:tcPr>
                </a:tc>
                <a:tc>
                  <a:txBody>
                    <a:bodyPr/>
                    <a:lstStyle/>
                    <a:p>
                      <a:pPr algn="ctr"/>
                      <a:r>
                        <a:rPr lang="en-US" sz="2000" b="1" dirty="0">
                          <a:solidFill>
                            <a:schemeClr val="bg1"/>
                          </a:solidFill>
                          <a:latin typeface="Calibri" panose="020F0502020204030204" pitchFamily="34" charset="0"/>
                        </a:rPr>
                        <a:t>0 </a:t>
                      </a:r>
                    </a:p>
                    <a:p>
                      <a:pPr algn="ctr"/>
                      <a:r>
                        <a:rPr lang="en-US" sz="2000" b="1" dirty="0">
                          <a:solidFill>
                            <a:schemeClr val="bg1"/>
                          </a:solidFill>
                          <a:latin typeface="Calibri" panose="020F0502020204030204" pitchFamily="34" charset="0"/>
                        </a:rPr>
                        <a:t>(Predicted Non-bike Buyer)</a:t>
                      </a:r>
                    </a:p>
                  </a:txBody>
                  <a:tcPr marL="89615" marR="89615" marT="44807" marB="44807">
                    <a:solidFill>
                      <a:schemeClr val="tx2"/>
                    </a:solidFill>
                  </a:tcPr>
                </a:tc>
                <a:extLst>
                  <a:ext uri="{0D108BD9-81ED-4DB2-BD59-A6C34878D82A}">
                    <a16:rowId xmlns:a16="http://schemas.microsoft.com/office/drawing/2014/main" val="10001"/>
                  </a:ext>
                </a:extLst>
              </a:tr>
              <a:tr h="687045">
                <a:tc>
                  <a:txBody>
                    <a:bodyPr/>
                    <a:lstStyle/>
                    <a:p>
                      <a:pPr algn="ctr"/>
                      <a:r>
                        <a:rPr lang="en-US" sz="2000" b="1" dirty="0">
                          <a:solidFill>
                            <a:schemeClr val="bg1"/>
                          </a:solidFill>
                          <a:latin typeface="Calibri" panose="020F0502020204030204" pitchFamily="34" charset="0"/>
                        </a:rPr>
                        <a:t>1 </a:t>
                      </a:r>
                    </a:p>
                    <a:p>
                      <a:pPr algn="ctr"/>
                      <a:r>
                        <a:rPr lang="en-US" sz="2000" b="1" dirty="0">
                          <a:solidFill>
                            <a:schemeClr val="bg1"/>
                          </a:solidFill>
                          <a:latin typeface="Calibri" panose="020F0502020204030204" pitchFamily="34" charset="0"/>
                        </a:rPr>
                        <a:t>(Actual Bike-Buyer)</a:t>
                      </a:r>
                    </a:p>
                  </a:txBody>
                  <a:tcPr marL="89615" marR="89615" marT="44807" marB="44807">
                    <a:solidFill>
                      <a:schemeClr val="tx2"/>
                    </a:solidFill>
                  </a:tcPr>
                </a:tc>
                <a:tc>
                  <a:txBody>
                    <a:bodyPr/>
                    <a:lstStyle/>
                    <a:p>
                      <a:pPr algn="ctr"/>
                      <a:r>
                        <a:rPr lang="en-US" sz="2000" dirty="0">
                          <a:solidFill>
                            <a:schemeClr val="tx1"/>
                          </a:solidFill>
                          <a:latin typeface="Calibri" panose="020F0502020204030204" pitchFamily="34" charset="0"/>
                        </a:rPr>
                        <a:t>506 </a:t>
                      </a:r>
                    </a:p>
                    <a:p>
                      <a:pPr algn="ctr"/>
                      <a:r>
                        <a:rPr lang="en-US" sz="2000" dirty="0">
                          <a:solidFill>
                            <a:schemeClr val="tx1"/>
                          </a:solidFill>
                          <a:latin typeface="Calibri" panose="020F0502020204030204" pitchFamily="34" charset="0"/>
                        </a:rPr>
                        <a:t>True Positive (TP)</a:t>
                      </a:r>
                    </a:p>
                  </a:txBody>
                  <a:tcPr marL="89615" marR="89615" marT="44807" marB="44807">
                    <a:solidFill>
                      <a:schemeClr val="bg2">
                        <a:lumMod val="20000"/>
                        <a:lumOff val="80000"/>
                      </a:schemeClr>
                    </a:solidFill>
                  </a:tcPr>
                </a:tc>
                <a:tc>
                  <a:txBody>
                    <a:bodyPr/>
                    <a:lstStyle/>
                    <a:p>
                      <a:pPr algn="ctr"/>
                      <a:r>
                        <a:rPr lang="en-US" sz="2000" dirty="0">
                          <a:solidFill>
                            <a:schemeClr val="tx1"/>
                          </a:solidFill>
                          <a:latin typeface="Calibri" panose="020F0502020204030204" pitchFamily="34" charset="0"/>
                        </a:rPr>
                        <a:t>112 </a:t>
                      </a:r>
                    </a:p>
                    <a:p>
                      <a:pPr algn="ctr"/>
                      <a:r>
                        <a:rPr lang="en-US" sz="2000" dirty="0">
                          <a:solidFill>
                            <a:schemeClr val="tx1"/>
                          </a:solidFill>
                          <a:latin typeface="Calibri" panose="020F0502020204030204" pitchFamily="34" charset="0"/>
                        </a:rPr>
                        <a:t>False Negative (FN)</a:t>
                      </a:r>
                    </a:p>
                  </a:txBody>
                  <a:tcPr marL="89615" marR="89615" marT="44807" marB="44807">
                    <a:solidFill>
                      <a:schemeClr val="bg2">
                        <a:lumMod val="20000"/>
                        <a:lumOff val="80000"/>
                      </a:schemeClr>
                    </a:solidFill>
                  </a:tcPr>
                </a:tc>
                <a:extLst>
                  <a:ext uri="{0D108BD9-81ED-4DB2-BD59-A6C34878D82A}">
                    <a16:rowId xmlns:a16="http://schemas.microsoft.com/office/drawing/2014/main" val="10002"/>
                  </a:ext>
                </a:extLst>
              </a:tr>
              <a:tr h="900722">
                <a:tc>
                  <a:txBody>
                    <a:bodyPr/>
                    <a:lstStyle/>
                    <a:p>
                      <a:pPr algn="ctr"/>
                      <a:r>
                        <a:rPr lang="en-US" sz="2000" b="1" dirty="0">
                          <a:solidFill>
                            <a:schemeClr val="bg1"/>
                          </a:solidFill>
                          <a:latin typeface="Calibri" panose="020F0502020204030204" pitchFamily="34" charset="0"/>
                        </a:rPr>
                        <a:t>0 </a:t>
                      </a:r>
                    </a:p>
                    <a:p>
                      <a:pPr algn="ctr"/>
                      <a:r>
                        <a:rPr lang="en-US" sz="2000" b="1" dirty="0">
                          <a:solidFill>
                            <a:schemeClr val="bg1"/>
                          </a:solidFill>
                          <a:latin typeface="Calibri" panose="020F0502020204030204" pitchFamily="34" charset="0"/>
                        </a:rPr>
                        <a:t>(Actual Non- Bike Buyer)</a:t>
                      </a:r>
                    </a:p>
                  </a:txBody>
                  <a:tcPr marL="89615" marR="89615" marT="44807" marB="44807">
                    <a:solidFill>
                      <a:schemeClr val="tx2"/>
                    </a:solidFill>
                  </a:tcPr>
                </a:tc>
                <a:tc>
                  <a:txBody>
                    <a:bodyPr/>
                    <a:lstStyle/>
                    <a:p>
                      <a:pPr algn="ctr"/>
                      <a:r>
                        <a:rPr lang="en-US" sz="2000" dirty="0">
                          <a:solidFill>
                            <a:schemeClr val="tx1"/>
                          </a:solidFill>
                          <a:latin typeface="Calibri" panose="020F0502020204030204" pitchFamily="34" charset="0"/>
                        </a:rPr>
                        <a:t>169 </a:t>
                      </a:r>
                    </a:p>
                    <a:p>
                      <a:pPr algn="ctr"/>
                      <a:r>
                        <a:rPr lang="en-US" sz="2000" dirty="0">
                          <a:solidFill>
                            <a:schemeClr val="tx1"/>
                          </a:solidFill>
                          <a:latin typeface="Calibri" panose="020F0502020204030204" pitchFamily="34" charset="0"/>
                        </a:rPr>
                        <a:t>False Positive</a:t>
                      </a:r>
                      <a:r>
                        <a:rPr lang="en-US" sz="2000" baseline="0" dirty="0">
                          <a:solidFill>
                            <a:schemeClr val="tx1"/>
                          </a:solidFill>
                          <a:latin typeface="Calibri" panose="020F0502020204030204" pitchFamily="34" charset="0"/>
                        </a:rPr>
                        <a:t> (FP)</a:t>
                      </a:r>
                      <a:endParaRPr lang="en-US" sz="2000" dirty="0">
                        <a:solidFill>
                          <a:schemeClr val="tx1"/>
                        </a:solidFill>
                        <a:latin typeface="Calibri" panose="020F0502020204030204" pitchFamily="34" charset="0"/>
                      </a:endParaRPr>
                    </a:p>
                  </a:txBody>
                  <a:tcPr marL="89615" marR="89615" marT="44807" marB="44807">
                    <a:solidFill>
                      <a:schemeClr val="bg2">
                        <a:lumMod val="20000"/>
                        <a:lumOff val="80000"/>
                      </a:schemeClr>
                    </a:solidFill>
                  </a:tcPr>
                </a:tc>
                <a:tc>
                  <a:txBody>
                    <a:bodyPr/>
                    <a:lstStyle/>
                    <a:p>
                      <a:pPr algn="ctr"/>
                      <a:r>
                        <a:rPr lang="en-US" sz="2000" dirty="0">
                          <a:solidFill>
                            <a:schemeClr val="tx1"/>
                          </a:solidFill>
                          <a:latin typeface="Calibri" panose="020F0502020204030204" pitchFamily="34" charset="0"/>
                        </a:rPr>
                        <a:t>420 </a:t>
                      </a:r>
                    </a:p>
                    <a:p>
                      <a:pPr algn="ctr"/>
                      <a:r>
                        <a:rPr lang="en-US" sz="2000" dirty="0">
                          <a:solidFill>
                            <a:schemeClr val="tx1"/>
                          </a:solidFill>
                          <a:latin typeface="Calibri" panose="020F0502020204030204" pitchFamily="34" charset="0"/>
                        </a:rPr>
                        <a:t>True Negative (TN)</a:t>
                      </a:r>
                    </a:p>
                  </a:txBody>
                  <a:tcPr marL="89615" marR="89615" marT="44807" marB="44807">
                    <a:solidFill>
                      <a:schemeClr val="bg2">
                        <a:lumMod val="20000"/>
                        <a:lumOff val="8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7547595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txBox="1">
            <a:spLocks noGrp="1"/>
          </p:cNvSpPr>
          <p:nvPr>
            <p:ph type="sldNum" sz="quarter" idx="12"/>
          </p:nvPr>
        </p:nvSpPr>
        <p:spPr>
          <a:prstGeom prst="rect">
            <a:avLst/>
          </a:prstGeom>
        </p:spPr>
        <p:txBody>
          <a:bodyPr vert="horz" wrap="square" lIns="0" tIns="0" rIns="0" bIns="0" rtlCol="0" anchor="b">
            <a:spAutoFit/>
          </a:bodyPr>
          <a:lstStyle/>
          <a:p>
            <a:pPr marL="24892" defTabSz="896112">
              <a:lnSpc>
                <a:spcPts val="1210"/>
              </a:lnSpc>
            </a:pPr>
            <a:fld id="{81D60167-4931-47E6-BA6A-407CBD079E47}" type="slidenum">
              <a:rPr spc="15" dirty="0">
                <a:solidFill>
                  <a:srgbClr val="464646"/>
                </a:solidFill>
                <a:latin typeface="Arial"/>
              </a:rPr>
              <a:pPr marL="24892" defTabSz="896112">
                <a:lnSpc>
                  <a:spcPts val="1210"/>
                </a:lnSpc>
              </a:pPr>
              <a:t>52</a:t>
            </a:fld>
            <a:endParaRPr spc="15" dirty="0">
              <a:solidFill>
                <a:srgbClr val="464646"/>
              </a:solidFill>
              <a:latin typeface="Arial"/>
            </a:endParaRPr>
          </a:p>
        </p:txBody>
      </p:sp>
      <p:sp>
        <p:nvSpPr>
          <p:cNvPr id="22" name="Title 5"/>
          <p:cNvSpPr txBox="1">
            <a:spLocks/>
          </p:cNvSpPr>
          <p:nvPr/>
        </p:nvSpPr>
        <p:spPr bwMode="auto">
          <a:xfrm>
            <a:off x="960792" y="508714"/>
            <a:ext cx="10843881" cy="91439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0000"/>
              </a:lnSpc>
              <a:spcBef>
                <a:spcPct val="0"/>
              </a:spcBef>
              <a:spcAft>
                <a:spcPct val="30000"/>
              </a:spcAft>
              <a:defRPr sz="1683">
                <a:solidFill>
                  <a:srgbClr val="F86B16"/>
                </a:solidFill>
                <a:latin typeface="+mj-lt"/>
                <a:ea typeface="+mj-ea"/>
                <a:cs typeface="+mj-cs"/>
              </a:defRPr>
            </a:lvl1pPr>
            <a:lvl2pPr algn="l" rtl="0" eaLnBrk="1" fontAlgn="base" hangingPunct="1">
              <a:lnSpc>
                <a:spcPct val="90000"/>
              </a:lnSpc>
              <a:spcBef>
                <a:spcPct val="0"/>
              </a:spcBef>
              <a:spcAft>
                <a:spcPct val="30000"/>
              </a:spcAft>
              <a:defRPr sz="2447">
                <a:solidFill>
                  <a:schemeClr val="tx2"/>
                </a:solidFill>
                <a:latin typeface="Arial" charset="0"/>
              </a:defRPr>
            </a:lvl2pPr>
            <a:lvl3pPr algn="l" rtl="0" eaLnBrk="1" fontAlgn="base" hangingPunct="1">
              <a:lnSpc>
                <a:spcPct val="90000"/>
              </a:lnSpc>
              <a:spcBef>
                <a:spcPct val="0"/>
              </a:spcBef>
              <a:spcAft>
                <a:spcPct val="30000"/>
              </a:spcAft>
              <a:defRPr sz="2447">
                <a:solidFill>
                  <a:schemeClr val="tx2"/>
                </a:solidFill>
                <a:latin typeface="Arial" charset="0"/>
              </a:defRPr>
            </a:lvl3pPr>
            <a:lvl4pPr algn="l" rtl="0" eaLnBrk="1" fontAlgn="base" hangingPunct="1">
              <a:lnSpc>
                <a:spcPct val="90000"/>
              </a:lnSpc>
              <a:spcBef>
                <a:spcPct val="0"/>
              </a:spcBef>
              <a:spcAft>
                <a:spcPct val="30000"/>
              </a:spcAft>
              <a:defRPr sz="2447">
                <a:solidFill>
                  <a:schemeClr val="tx2"/>
                </a:solidFill>
                <a:latin typeface="Arial" charset="0"/>
              </a:defRPr>
            </a:lvl4pPr>
            <a:lvl5pPr algn="l" rtl="0" eaLnBrk="1" fontAlgn="base" hangingPunct="1">
              <a:lnSpc>
                <a:spcPct val="90000"/>
              </a:lnSpc>
              <a:spcBef>
                <a:spcPct val="0"/>
              </a:spcBef>
              <a:spcAft>
                <a:spcPct val="30000"/>
              </a:spcAft>
              <a:defRPr sz="2447">
                <a:solidFill>
                  <a:schemeClr val="tx2"/>
                </a:solidFill>
                <a:latin typeface="Arial" charset="0"/>
              </a:defRPr>
            </a:lvl5pPr>
            <a:lvl6pPr marL="349682" algn="l" rtl="0" eaLnBrk="1" fontAlgn="base" hangingPunct="1">
              <a:spcBef>
                <a:spcPct val="0"/>
              </a:spcBef>
              <a:spcAft>
                <a:spcPct val="0"/>
              </a:spcAft>
              <a:defRPr sz="2447" b="1">
                <a:solidFill>
                  <a:schemeClr val="tx2"/>
                </a:solidFill>
                <a:latin typeface="Arial" charset="0"/>
              </a:defRPr>
            </a:lvl6pPr>
            <a:lvl7pPr marL="699363" algn="l" rtl="0" eaLnBrk="1" fontAlgn="base" hangingPunct="1">
              <a:spcBef>
                <a:spcPct val="0"/>
              </a:spcBef>
              <a:spcAft>
                <a:spcPct val="0"/>
              </a:spcAft>
              <a:defRPr sz="2447" b="1">
                <a:solidFill>
                  <a:schemeClr val="tx2"/>
                </a:solidFill>
                <a:latin typeface="Arial" charset="0"/>
              </a:defRPr>
            </a:lvl7pPr>
            <a:lvl8pPr marL="1049046" algn="l" rtl="0" eaLnBrk="1" fontAlgn="base" hangingPunct="1">
              <a:spcBef>
                <a:spcPct val="0"/>
              </a:spcBef>
              <a:spcAft>
                <a:spcPct val="0"/>
              </a:spcAft>
              <a:defRPr sz="2447" b="1">
                <a:solidFill>
                  <a:schemeClr val="tx2"/>
                </a:solidFill>
                <a:latin typeface="Arial" charset="0"/>
              </a:defRPr>
            </a:lvl8pPr>
            <a:lvl9pPr marL="1398727" algn="l" rtl="0" eaLnBrk="1" fontAlgn="base" hangingPunct="1">
              <a:spcBef>
                <a:spcPct val="0"/>
              </a:spcBef>
              <a:spcAft>
                <a:spcPct val="0"/>
              </a:spcAft>
              <a:defRPr sz="2447" b="1">
                <a:solidFill>
                  <a:schemeClr val="tx2"/>
                </a:solidFill>
                <a:latin typeface="Arial" charset="0"/>
              </a:defRPr>
            </a:lvl9pPr>
          </a:lstStyle>
          <a:p>
            <a:pPr defTabSz="896112"/>
            <a:r>
              <a:rPr lang="en-US" sz="3600" kern="0" dirty="0">
                <a:solidFill>
                  <a:srgbClr val="595959"/>
                </a:solidFill>
                <a:latin typeface="Segoe UI Light" panose="020B0502040204020203" pitchFamily="34" charset="0"/>
                <a:cs typeface="Segoe UI Light" panose="020B0502040204020203" pitchFamily="34" charset="0"/>
              </a:rPr>
              <a:t>Performance Metrics </a:t>
            </a:r>
          </a:p>
        </p:txBody>
      </p:sp>
      <p:sp>
        <p:nvSpPr>
          <p:cNvPr id="24" name="TextBox 23"/>
          <p:cNvSpPr txBox="1"/>
          <p:nvPr/>
        </p:nvSpPr>
        <p:spPr>
          <a:xfrm>
            <a:off x="960792" y="1423113"/>
            <a:ext cx="11375500" cy="4145307"/>
          </a:xfrm>
          <a:prstGeom prst="rect">
            <a:avLst/>
          </a:prstGeom>
          <a:noFill/>
        </p:spPr>
        <p:txBody>
          <a:bodyPr wrap="square" rtlCol="0">
            <a:spAutoFit/>
          </a:bodyPr>
          <a:lstStyle/>
          <a:p>
            <a:pPr defTabSz="896112"/>
            <a:r>
              <a:rPr lang="en-US" sz="2395" b="1" dirty="0">
                <a:solidFill>
                  <a:srgbClr val="646464"/>
                </a:solidFill>
                <a:latin typeface="Calibri" panose="020F0502020204030204" pitchFamily="34" charset="0"/>
              </a:rPr>
              <a:t>Precision</a:t>
            </a:r>
          </a:p>
          <a:p>
            <a:pPr defTabSz="896112"/>
            <a:r>
              <a:rPr lang="en-US" sz="2395" dirty="0">
                <a:solidFill>
                  <a:srgbClr val="646464"/>
                </a:solidFill>
                <a:latin typeface="Calibri" panose="020F0502020204030204" pitchFamily="34" charset="0"/>
              </a:rPr>
              <a:t>How many positive predictions are correct ? TP / (TP+FP)</a:t>
            </a:r>
          </a:p>
          <a:p>
            <a:pPr defTabSz="896112"/>
            <a:r>
              <a:rPr lang="en-US" sz="2395" dirty="0">
                <a:solidFill>
                  <a:srgbClr val="646464"/>
                </a:solidFill>
                <a:latin typeface="Calibri" panose="020F0502020204030204" pitchFamily="34" charset="0"/>
              </a:rPr>
              <a:t>Here, Precision= 506/ (506+169)= </a:t>
            </a:r>
            <a:r>
              <a:rPr lang="en-US" sz="2395" b="1" dirty="0">
                <a:solidFill>
                  <a:srgbClr val="FF5800"/>
                </a:solidFill>
                <a:latin typeface="Calibri" panose="020F0502020204030204" pitchFamily="34" charset="0"/>
              </a:rPr>
              <a:t>0.74</a:t>
            </a:r>
          </a:p>
          <a:p>
            <a:pPr defTabSz="896112"/>
            <a:endParaRPr lang="en-US" sz="2395" dirty="0">
              <a:solidFill>
                <a:srgbClr val="646464"/>
              </a:solidFill>
              <a:latin typeface="Calibri" panose="020F0502020204030204" pitchFamily="34" charset="0"/>
            </a:endParaRPr>
          </a:p>
          <a:p>
            <a:pPr defTabSz="896112"/>
            <a:r>
              <a:rPr lang="en-US" sz="2395" b="1" dirty="0">
                <a:solidFill>
                  <a:srgbClr val="646464"/>
                </a:solidFill>
                <a:latin typeface="Calibri" panose="020F0502020204030204" pitchFamily="34" charset="0"/>
              </a:rPr>
              <a:t>Recall (Sensitivity)</a:t>
            </a:r>
          </a:p>
          <a:p>
            <a:pPr defTabSz="896112"/>
            <a:r>
              <a:rPr lang="en-US" sz="2395" dirty="0">
                <a:solidFill>
                  <a:srgbClr val="646464"/>
                </a:solidFill>
                <a:latin typeface="Calibri" panose="020F0502020204030204" pitchFamily="34" charset="0"/>
              </a:rPr>
              <a:t>Percentage of positive labelled instances that were predicted as positive TP / (TP+FN)</a:t>
            </a:r>
          </a:p>
          <a:p>
            <a:pPr defTabSz="896112"/>
            <a:r>
              <a:rPr lang="en-US" sz="2395" dirty="0">
                <a:solidFill>
                  <a:srgbClr val="646464"/>
                </a:solidFill>
                <a:latin typeface="Calibri" panose="020F0502020204030204" pitchFamily="34" charset="0"/>
              </a:rPr>
              <a:t>Here, recall= 506/ (506+ 112)= </a:t>
            </a:r>
            <a:r>
              <a:rPr lang="en-US" sz="2395" b="1" dirty="0">
                <a:solidFill>
                  <a:srgbClr val="FF5800"/>
                </a:solidFill>
                <a:latin typeface="Calibri" panose="020F0502020204030204" pitchFamily="34" charset="0"/>
              </a:rPr>
              <a:t>0.81</a:t>
            </a:r>
          </a:p>
          <a:p>
            <a:pPr defTabSz="896112"/>
            <a:endParaRPr lang="en-US" sz="2395" dirty="0">
              <a:solidFill>
                <a:srgbClr val="646464"/>
              </a:solidFill>
              <a:latin typeface="Calibri" panose="020F0502020204030204" pitchFamily="34" charset="0"/>
            </a:endParaRPr>
          </a:p>
          <a:p>
            <a:pPr defTabSz="896112"/>
            <a:r>
              <a:rPr lang="en-US" sz="2395" b="1" dirty="0">
                <a:solidFill>
                  <a:srgbClr val="646464"/>
                </a:solidFill>
                <a:latin typeface="Calibri" panose="020F0502020204030204" pitchFamily="34" charset="0"/>
              </a:rPr>
              <a:t>Specificity</a:t>
            </a:r>
          </a:p>
          <a:p>
            <a:pPr defTabSz="896112"/>
            <a:r>
              <a:rPr lang="en-US" sz="2395" dirty="0">
                <a:solidFill>
                  <a:srgbClr val="646464"/>
                </a:solidFill>
                <a:latin typeface="Calibri" panose="020F0502020204030204" pitchFamily="34" charset="0"/>
              </a:rPr>
              <a:t>Percentage of negative labelled instances that were predicted as negative TN / (TN + FP)</a:t>
            </a:r>
          </a:p>
          <a:p>
            <a:pPr defTabSz="896112"/>
            <a:r>
              <a:rPr lang="en-US" sz="2395" dirty="0">
                <a:solidFill>
                  <a:srgbClr val="646464"/>
                </a:solidFill>
                <a:latin typeface="Calibri" panose="020F0502020204030204" pitchFamily="34" charset="0"/>
              </a:rPr>
              <a:t>Here, Specificity= 420/ (420+ 169)= </a:t>
            </a:r>
            <a:r>
              <a:rPr lang="en-US" sz="2395" b="1" dirty="0">
                <a:solidFill>
                  <a:srgbClr val="FF5800"/>
                </a:solidFill>
                <a:latin typeface="Calibri" panose="020F0502020204030204" pitchFamily="34" charset="0"/>
              </a:rPr>
              <a:t>0.71</a:t>
            </a:r>
          </a:p>
        </p:txBody>
      </p:sp>
      <p:graphicFrame>
        <p:nvGraphicFramePr>
          <p:cNvPr id="8" name="Table 7"/>
          <p:cNvGraphicFramePr>
            <a:graphicFrameLocks noGrp="1"/>
          </p:cNvGraphicFramePr>
          <p:nvPr>
            <p:extLst/>
          </p:nvPr>
        </p:nvGraphicFramePr>
        <p:xfrm>
          <a:off x="8272434" y="1456743"/>
          <a:ext cx="3510042" cy="1792842"/>
        </p:xfrm>
        <a:graphic>
          <a:graphicData uri="http://schemas.openxmlformats.org/drawingml/2006/table">
            <a:tbl>
              <a:tblPr firstRow="1" bandRow="1">
                <a:tableStyleId>{21E4AEA4-8DFA-4A89-87EB-49C32662AFE0}</a:tableStyleId>
              </a:tblPr>
              <a:tblGrid>
                <a:gridCol w="1170014">
                  <a:extLst>
                    <a:ext uri="{9D8B030D-6E8A-4147-A177-3AD203B41FA5}">
                      <a16:colId xmlns:a16="http://schemas.microsoft.com/office/drawing/2014/main" val="20000"/>
                    </a:ext>
                  </a:extLst>
                </a:gridCol>
                <a:gridCol w="1170014">
                  <a:extLst>
                    <a:ext uri="{9D8B030D-6E8A-4147-A177-3AD203B41FA5}">
                      <a16:colId xmlns:a16="http://schemas.microsoft.com/office/drawing/2014/main" val="20001"/>
                    </a:ext>
                  </a:extLst>
                </a:gridCol>
                <a:gridCol w="1170014">
                  <a:extLst>
                    <a:ext uri="{9D8B030D-6E8A-4147-A177-3AD203B41FA5}">
                      <a16:colId xmlns:a16="http://schemas.microsoft.com/office/drawing/2014/main" val="20002"/>
                    </a:ext>
                  </a:extLst>
                </a:gridCol>
              </a:tblGrid>
              <a:tr h="388330">
                <a:tc>
                  <a:txBody>
                    <a:bodyPr/>
                    <a:lstStyle/>
                    <a:p>
                      <a:pPr algn="ctr"/>
                      <a:endParaRPr lang="en-US" sz="2000" b="0" i="0" dirty="0">
                        <a:solidFill>
                          <a:schemeClr val="tx2"/>
                        </a:solidFill>
                        <a:latin typeface="+mn-lt"/>
                      </a:endParaRPr>
                    </a:p>
                  </a:txBody>
                  <a:tcPr marL="89615" marR="89615" marT="44807" marB="44807"/>
                </a:tc>
                <a:tc>
                  <a:txBody>
                    <a:bodyPr/>
                    <a:lstStyle/>
                    <a:p>
                      <a:pPr algn="ctr"/>
                      <a:r>
                        <a:rPr lang="en-US" sz="2000" dirty="0"/>
                        <a:t>1 </a:t>
                      </a:r>
                      <a:endParaRPr lang="en-US" sz="2000" b="0" i="0" dirty="0">
                        <a:solidFill>
                          <a:schemeClr val="tx2"/>
                        </a:solidFill>
                        <a:latin typeface="+mn-lt"/>
                      </a:endParaRPr>
                    </a:p>
                  </a:txBody>
                  <a:tcPr marL="89615" marR="89615" marT="44807" marB="44807"/>
                </a:tc>
                <a:tc>
                  <a:txBody>
                    <a:bodyPr/>
                    <a:lstStyle/>
                    <a:p>
                      <a:pPr algn="ctr"/>
                      <a:r>
                        <a:rPr lang="en-US" sz="2000" dirty="0"/>
                        <a:t>0 </a:t>
                      </a:r>
                      <a:endParaRPr lang="en-US" sz="2000" b="0" i="0" dirty="0">
                        <a:solidFill>
                          <a:schemeClr val="tx2"/>
                        </a:solidFill>
                        <a:latin typeface="+mn-lt"/>
                      </a:endParaRPr>
                    </a:p>
                  </a:txBody>
                  <a:tcPr marL="89615" marR="89615" marT="44807" marB="44807"/>
                </a:tc>
                <a:extLst>
                  <a:ext uri="{0D108BD9-81ED-4DB2-BD59-A6C34878D82A}">
                    <a16:rowId xmlns:a16="http://schemas.microsoft.com/office/drawing/2014/main" val="10000"/>
                  </a:ext>
                </a:extLst>
              </a:tr>
              <a:tr h="687045">
                <a:tc>
                  <a:txBody>
                    <a:bodyPr/>
                    <a:lstStyle/>
                    <a:p>
                      <a:pPr algn="ctr"/>
                      <a:r>
                        <a:rPr lang="en-US" sz="2000" dirty="0"/>
                        <a:t>1 </a:t>
                      </a:r>
                      <a:endParaRPr lang="en-US" sz="2000" b="0" i="0" dirty="0">
                        <a:solidFill>
                          <a:schemeClr val="tx2"/>
                        </a:solidFill>
                        <a:latin typeface="+mn-lt"/>
                      </a:endParaRPr>
                    </a:p>
                  </a:txBody>
                  <a:tcPr marL="89615" marR="89615" marT="44807" marB="44807"/>
                </a:tc>
                <a:tc>
                  <a:txBody>
                    <a:bodyPr/>
                    <a:lstStyle/>
                    <a:p>
                      <a:pPr algn="ctr"/>
                      <a:r>
                        <a:rPr lang="en-US" sz="2000" dirty="0"/>
                        <a:t>506 </a:t>
                      </a:r>
                    </a:p>
                    <a:p>
                      <a:pPr algn="ctr"/>
                      <a:r>
                        <a:rPr lang="en-US" sz="2000" dirty="0"/>
                        <a:t>TP</a:t>
                      </a:r>
                      <a:endParaRPr lang="en-US" sz="2000" b="0" i="0" dirty="0">
                        <a:solidFill>
                          <a:schemeClr val="tx2"/>
                        </a:solidFill>
                        <a:latin typeface="+mn-lt"/>
                      </a:endParaRPr>
                    </a:p>
                  </a:txBody>
                  <a:tcPr marL="89615" marR="89615" marT="44807" marB="44807"/>
                </a:tc>
                <a:tc>
                  <a:txBody>
                    <a:bodyPr/>
                    <a:lstStyle/>
                    <a:p>
                      <a:pPr algn="ctr"/>
                      <a:r>
                        <a:rPr lang="en-US" sz="2000" dirty="0"/>
                        <a:t>112 </a:t>
                      </a:r>
                    </a:p>
                    <a:p>
                      <a:pPr algn="ctr"/>
                      <a:r>
                        <a:rPr lang="en-US" sz="2000" dirty="0"/>
                        <a:t>FN</a:t>
                      </a:r>
                      <a:endParaRPr lang="en-US" sz="2000" b="0" i="0" dirty="0">
                        <a:solidFill>
                          <a:schemeClr val="tx2"/>
                        </a:solidFill>
                        <a:latin typeface="+mn-lt"/>
                      </a:endParaRPr>
                    </a:p>
                  </a:txBody>
                  <a:tcPr marL="89615" marR="89615" marT="44807" marB="44807"/>
                </a:tc>
                <a:extLst>
                  <a:ext uri="{0D108BD9-81ED-4DB2-BD59-A6C34878D82A}">
                    <a16:rowId xmlns:a16="http://schemas.microsoft.com/office/drawing/2014/main" val="10001"/>
                  </a:ext>
                </a:extLst>
              </a:tr>
              <a:tr h="687045">
                <a:tc>
                  <a:txBody>
                    <a:bodyPr/>
                    <a:lstStyle/>
                    <a:p>
                      <a:pPr algn="ctr"/>
                      <a:r>
                        <a:rPr lang="en-US" sz="2000" dirty="0"/>
                        <a:t>0 </a:t>
                      </a:r>
                      <a:endParaRPr lang="en-US" sz="2000" b="0" i="0" dirty="0">
                        <a:solidFill>
                          <a:schemeClr val="tx2"/>
                        </a:solidFill>
                        <a:latin typeface="+mn-lt"/>
                      </a:endParaRPr>
                    </a:p>
                  </a:txBody>
                  <a:tcPr marL="89615" marR="89615" marT="44807" marB="44807"/>
                </a:tc>
                <a:tc>
                  <a:txBody>
                    <a:bodyPr/>
                    <a:lstStyle/>
                    <a:p>
                      <a:pPr algn="ctr"/>
                      <a:r>
                        <a:rPr lang="en-US" sz="2000" dirty="0"/>
                        <a:t>169 </a:t>
                      </a:r>
                    </a:p>
                    <a:p>
                      <a:pPr algn="ctr"/>
                      <a:r>
                        <a:rPr lang="en-US" sz="2000" baseline="0" dirty="0"/>
                        <a:t>FP</a:t>
                      </a:r>
                      <a:endParaRPr lang="en-US" sz="2000" b="0" i="0" dirty="0">
                        <a:solidFill>
                          <a:schemeClr val="tx2"/>
                        </a:solidFill>
                        <a:latin typeface="+mn-lt"/>
                      </a:endParaRPr>
                    </a:p>
                  </a:txBody>
                  <a:tcPr marL="89615" marR="89615" marT="44807" marB="44807"/>
                </a:tc>
                <a:tc>
                  <a:txBody>
                    <a:bodyPr/>
                    <a:lstStyle/>
                    <a:p>
                      <a:pPr algn="ctr"/>
                      <a:r>
                        <a:rPr lang="en-US" sz="2000" dirty="0"/>
                        <a:t>420 </a:t>
                      </a:r>
                    </a:p>
                    <a:p>
                      <a:pPr algn="ctr"/>
                      <a:r>
                        <a:rPr lang="en-US" sz="2000" dirty="0"/>
                        <a:t>TN</a:t>
                      </a:r>
                      <a:endParaRPr lang="en-US" sz="2000" b="0" i="0" dirty="0">
                        <a:solidFill>
                          <a:schemeClr val="tx2"/>
                        </a:solidFill>
                        <a:latin typeface="+mn-lt"/>
                      </a:endParaRPr>
                    </a:p>
                  </a:txBody>
                  <a:tcPr marL="89615" marR="89615" marT="44807" marB="4480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8589961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960792" y="390719"/>
            <a:ext cx="10270415" cy="553998"/>
          </a:xfrm>
          <a:prstGeom prst="rect">
            <a:avLst/>
          </a:prstGeom>
        </p:spPr>
        <p:txBody>
          <a:bodyPr vert="horz" wrap="square" lIns="0" tIns="0" rIns="0" bIns="0" numCol="1" rtlCol="0" anchor="t" anchorCtr="0" compatLnSpc="1">
            <a:prstTxWarp prst="textNoShape">
              <a:avLst/>
            </a:prstTxWarp>
            <a:spAutoFit/>
          </a:bodyPr>
          <a:lstStyle/>
          <a:p>
            <a:pPr marL="12446">
              <a:lnSpc>
                <a:spcPct val="100000"/>
              </a:lnSpc>
            </a:pPr>
            <a:r>
              <a:rPr spc="5" dirty="0">
                <a:latin typeface="Segoe UI Light" panose="020B0502040204020203" pitchFamily="34" charset="0"/>
                <a:cs typeface="Segoe UI Light" panose="020B0502040204020203" pitchFamily="34" charset="0"/>
              </a:rPr>
              <a:t>Area </a:t>
            </a:r>
            <a:r>
              <a:rPr dirty="0">
                <a:latin typeface="Segoe UI Light" panose="020B0502040204020203" pitchFamily="34" charset="0"/>
                <a:cs typeface="Segoe UI Light" panose="020B0502040204020203" pitchFamily="34" charset="0"/>
              </a:rPr>
              <a:t>under ROC</a:t>
            </a:r>
            <a:r>
              <a:rPr spc="-147" dirty="0">
                <a:latin typeface="Segoe UI Light" panose="020B0502040204020203" pitchFamily="34" charset="0"/>
                <a:cs typeface="Segoe UI Light" panose="020B0502040204020203" pitchFamily="34" charset="0"/>
              </a:rPr>
              <a:t> </a:t>
            </a:r>
            <a:r>
              <a:rPr lang="nl-NL" dirty="0">
                <a:latin typeface="Segoe UI Light" panose="020B0502040204020203" pitchFamily="34" charset="0"/>
                <a:cs typeface="Segoe UI Light" panose="020B0502040204020203" pitchFamily="34" charset="0"/>
              </a:rPr>
              <a:t>C</a:t>
            </a:r>
            <a:r>
              <a:rPr dirty="0" err="1">
                <a:latin typeface="Segoe UI Light" panose="020B0502040204020203" pitchFamily="34" charset="0"/>
                <a:cs typeface="Segoe UI Light" panose="020B0502040204020203" pitchFamily="34" charset="0"/>
              </a:rPr>
              <a:t>urve</a:t>
            </a:r>
            <a:endParaRPr dirty="0">
              <a:latin typeface="Segoe UI Light" panose="020B0502040204020203" pitchFamily="34" charset="0"/>
              <a:cs typeface="Segoe UI Light" panose="020B0502040204020203" pitchFamily="34" charset="0"/>
            </a:endParaRPr>
          </a:p>
        </p:txBody>
      </p:sp>
      <p:sp>
        <p:nvSpPr>
          <p:cNvPr id="5" name="object 5"/>
          <p:cNvSpPr/>
          <p:nvPr/>
        </p:nvSpPr>
        <p:spPr>
          <a:xfrm>
            <a:off x="8000455" y="5684024"/>
            <a:ext cx="4356261" cy="170517"/>
          </a:xfrm>
          <a:custGeom>
            <a:avLst/>
            <a:gdLst/>
            <a:ahLst/>
            <a:cxnLst/>
            <a:rect l="l" t="t" r="r" b="b"/>
            <a:pathLst>
              <a:path w="4445000" h="173989">
                <a:moveTo>
                  <a:pt x="4270756" y="0"/>
                </a:moveTo>
                <a:lnTo>
                  <a:pt x="4270756" y="173736"/>
                </a:lnTo>
                <a:lnTo>
                  <a:pt x="4386580" y="115824"/>
                </a:lnTo>
                <a:lnTo>
                  <a:pt x="4299712" y="115824"/>
                </a:lnTo>
                <a:lnTo>
                  <a:pt x="4299712" y="57912"/>
                </a:lnTo>
                <a:lnTo>
                  <a:pt x="4386580" y="57912"/>
                </a:lnTo>
                <a:lnTo>
                  <a:pt x="4270756" y="0"/>
                </a:lnTo>
                <a:close/>
              </a:path>
              <a:path w="4445000" h="173989">
                <a:moveTo>
                  <a:pt x="4270756" y="57912"/>
                </a:moveTo>
                <a:lnTo>
                  <a:pt x="0" y="57912"/>
                </a:lnTo>
                <a:lnTo>
                  <a:pt x="0" y="115824"/>
                </a:lnTo>
                <a:lnTo>
                  <a:pt x="4270756" y="115824"/>
                </a:lnTo>
                <a:lnTo>
                  <a:pt x="4270756" y="57912"/>
                </a:lnTo>
                <a:close/>
              </a:path>
              <a:path w="4445000" h="173989">
                <a:moveTo>
                  <a:pt x="4386580" y="57912"/>
                </a:moveTo>
                <a:lnTo>
                  <a:pt x="4299712" y="57912"/>
                </a:lnTo>
                <a:lnTo>
                  <a:pt x="4299712" y="115824"/>
                </a:lnTo>
                <a:lnTo>
                  <a:pt x="4386580" y="115824"/>
                </a:lnTo>
                <a:lnTo>
                  <a:pt x="4444492" y="86868"/>
                </a:lnTo>
                <a:lnTo>
                  <a:pt x="4386580" y="57912"/>
                </a:lnTo>
                <a:close/>
              </a:path>
            </a:pathLst>
          </a:custGeom>
          <a:solidFill>
            <a:srgbClr val="000000"/>
          </a:solidFill>
        </p:spPr>
        <p:txBody>
          <a:bodyPr wrap="square" lIns="0" tIns="0" rIns="0" bIns="0" rtlCol="0"/>
          <a:lstStyle/>
          <a:p>
            <a:pPr defTabSz="896112"/>
            <a:endParaRPr sz="1764">
              <a:solidFill>
                <a:srgbClr val="005CB9"/>
              </a:solidFill>
              <a:latin typeface="Arial"/>
            </a:endParaRPr>
          </a:p>
        </p:txBody>
      </p:sp>
      <p:sp>
        <p:nvSpPr>
          <p:cNvPr id="6" name="object 6"/>
          <p:cNvSpPr/>
          <p:nvPr/>
        </p:nvSpPr>
        <p:spPr>
          <a:xfrm>
            <a:off x="8027898" y="1994581"/>
            <a:ext cx="170517" cy="3734561"/>
          </a:xfrm>
          <a:custGeom>
            <a:avLst/>
            <a:gdLst/>
            <a:ahLst/>
            <a:cxnLst/>
            <a:rect l="l" t="t" r="r" b="b"/>
            <a:pathLst>
              <a:path w="173989" h="3810635">
                <a:moveTo>
                  <a:pt x="57854" y="173311"/>
                </a:moveTo>
                <a:lnTo>
                  <a:pt x="2920" y="3809568"/>
                </a:lnTo>
                <a:lnTo>
                  <a:pt x="60832" y="3810444"/>
                </a:lnTo>
                <a:lnTo>
                  <a:pt x="115766" y="174158"/>
                </a:lnTo>
                <a:lnTo>
                  <a:pt x="57854" y="173311"/>
                </a:lnTo>
                <a:close/>
              </a:path>
              <a:path w="173989" h="3810635">
                <a:moveTo>
                  <a:pt x="158926" y="144271"/>
                </a:moveTo>
                <a:lnTo>
                  <a:pt x="58293" y="144271"/>
                </a:lnTo>
                <a:lnTo>
                  <a:pt x="116205" y="145161"/>
                </a:lnTo>
                <a:lnTo>
                  <a:pt x="115766" y="174158"/>
                </a:lnTo>
                <a:lnTo>
                  <a:pt x="173736" y="175005"/>
                </a:lnTo>
                <a:lnTo>
                  <a:pt x="158926" y="144271"/>
                </a:lnTo>
                <a:close/>
              </a:path>
              <a:path w="173989" h="3810635">
                <a:moveTo>
                  <a:pt x="58293" y="144271"/>
                </a:moveTo>
                <a:lnTo>
                  <a:pt x="57854" y="173311"/>
                </a:lnTo>
                <a:lnTo>
                  <a:pt x="115766" y="174158"/>
                </a:lnTo>
                <a:lnTo>
                  <a:pt x="116205" y="145161"/>
                </a:lnTo>
                <a:lnTo>
                  <a:pt x="58293" y="144271"/>
                </a:lnTo>
                <a:close/>
              </a:path>
              <a:path w="173989" h="3810635">
                <a:moveTo>
                  <a:pt x="89407" y="0"/>
                </a:moveTo>
                <a:lnTo>
                  <a:pt x="0" y="172465"/>
                </a:lnTo>
                <a:lnTo>
                  <a:pt x="57854" y="173311"/>
                </a:lnTo>
                <a:lnTo>
                  <a:pt x="58293" y="144271"/>
                </a:lnTo>
                <a:lnTo>
                  <a:pt x="158926" y="144271"/>
                </a:lnTo>
                <a:lnTo>
                  <a:pt x="89407" y="0"/>
                </a:lnTo>
                <a:close/>
              </a:path>
            </a:pathLst>
          </a:custGeom>
          <a:solidFill>
            <a:srgbClr val="000000"/>
          </a:solidFill>
        </p:spPr>
        <p:txBody>
          <a:bodyPr wrap="square" lIns="0" tIns="0" rIns="0" bIns="0" rtlCol="0"/>
          <a:lstStyle/>
          <a:p>
            <a:pPr defTabSz="896112"/>
            <a:endParaRPr sz="1764">
              <a:solidFill>
                <a:srgbClr val="005CB9"/>
              </a:solidFill>
              <a:latin typeface="Arial"/>
            </a:endParaRPr>
          </a:p>
        </p:txBody>
      </p:sp>
      <p:sp>
        <p:nvSpPr>
          <p:cNvPr id="7" name="object 7"/>
          <p:cNvSpPr txBox="1"/>
          <p:nvPr/>
        </p:nvSpPr>
        <p:spPr>
          <a:xfrm>
            <a:off x="8501965" y="5999792"/>
            <a:ext cx="3555248" cy="301633"/>
          </a:xfrm>
          <a:prstGeom prst="rect">
            <a:avLst/>
          </a:prstGeom>
        </p:spPr>
        <p:txBody>
          <a:bodyPr vert="horz" wrap="square" lIns="0" tIns="0" rIns="0" bIns="0" rtlCol="0">
            <a:spAutoFit/>
          </a:bodyPr>
          <a:lstStyle/>
          <a:p>
            <a:pPr marL="12446" defTabSz="896112"/>
            <a:r>
              <a:rPr sz="1960" dirty="0">
                <a:solidFill>
                  <a:srgbClr val="646464"/>
                </a:solidFill>
                <a:latin typeface="Calibri" panose="020F0502020204030204" pitchFamily="34" charset="0"/>
              </a:rPr>
              <a:t>False</a:t>
            </a:r>
            <a:r>
              <a:rPr sz="1960" spc="-20" dirty="0">
                <a:solidFill>
                  <a:srgbClr val="005CB9"/>
                </a:solidFill>
                <a:latin typeface="Segoe UI Light"/>
                <a:cs typeface="Segoe UI Light"/>
              </a:rPr>
              <a:t> </a:t>
            </a:r>
            <a:r>
              <a:rPr sz="1960" dirty="0">
                <a:solidFill>
                  <a:srgbClr val="646464"/>
                </a:solidFill>
                <a:latin typeface="Calibri" panose="020F0502020204030204" pitchFamily="34" charset="0"/>
              </a:rPr>
              <a:t>positive</a:t>
            </a:r>
            <a:r>
              <a:rPr sz="1960" spc="-5" dirty="0">
                <a:solidFill>
                  <a:srgbClr val="005CB9"/>
                </a:solidFill>
                <a:latin typeface="Segoe UI Light"/>
                <a:cs typeface="Segoe UI Light"/>
              </a:rPr>
              <a:t> </a:t>
            </a:r>
            <a:r>
              <a:rPr sz="1960" dirty="0">
                <a:solidFill>
                  <a:srgbClr val="646464"/>
                </a:solidFill>
                <a:latin typeface="Calibri" panose="020F0502020204030204" pitchFamily="34" charset="0"/>
              </a:rPr>
              <a:t>rate</a:t>
            </a:r>
            <a:r>
              <a:rPr sz="1960" dirty="0">
                <a:solidFill>
                  <a:srgbClr val="005CB9"/>
                </a:solidFill>
                <a:latin typeface="Segoe UI Light"/>
                <a:cs typeface="Segoe UI Light"/>
              </a:rPr>
              <a:t> </a:t>
            </a:r>
            <a:r>
              <a:rPr sz="1960" dirty="0">
                <a:solidFill>
                  <a:srgbClr val="646464"/>
                </a:solidFill>
                <a:latin typeface="Calibri" panose="020F0502020204030204" pitchFamily="34" charset="0"/>
              </a:rPr>
              <a:t>(1-specificity)</a:t>
            </a:r>
          </a:p>
        </p:txBody>
      </p:sp>
      <p:sp>
        <p:nvSpPr>
          <p:cNvPr id="8" name="object 8"/>
          <p:cNvSpPr txBox="1"/>
          <p:nvPr/>
        </p:nvSpPr>
        <p:spPr>
          <a:xfrm>
            <a:off x="7649207" y="2383844"/>
            <a:ext cx="192360" cy="3243920"/>
          </a:xfrm>
          <a:prstGeom prst="rect">
            <a:avLst/>
          </a:prstGeom>
        </p:spPr>
        <p:txBody>
          <a:bodyPr vert="vert270" wrap="square" lIns="0" tIns="0" rIns="0" bIns="0" rtlCol="0">
            <a:spAutoFit/>
          </a:bodyPr>
          <a:lstStyle/>
          <a:p>
            <a:pPr marL="12446" defTabSz="896112">
              <a:lnSpc>
                <a:spcPts val="1490"/>
              </a:lnSpc>
            </a:pPr>
            <a:r>
              <a:rPr sz="1960" dirty="0">
                <a:solidFill>
                  <a:srgbClr val="646464"/>
                </a:solidFill>
                <a:latin typeface="Calibri" panose="020F0502020204030204" pitchFamily="34" charset="0"/>
              </a:rPr>
              <a:t>True</a:t>
            </a:r>
            <a:r>
              <a:rPr sz="1372" spc="-15" dirty="0">
                <a:solidFill>
                  <a:srgbClr val="005CB9"/>
                </a:solidFill>
                <a:latin typeface="Segoe UI Light"/>
                <a:cs typeface="Segoe UI Light"/>
              </a:rPr>
              <a:t> </a:t>
            </a:r>
            <a:r>
              <a:rPr sz="1960" dirty="0">
                <a:solidFill>
                  <a:srgbClr val="646464"/>
                </a:solidFill>
                <a:latin typeface="Calibri" panose="020F0502020204030204" pitchFamily="34" charset="0"/>
              </a:rPr>
              <a:t>positive  rate</a:t>
            </a:r>
            <a:r>
              <a:rPr lang="en-US" sz="1960" dirty="0">
                <a:solidFill>
                  <a:srgbClr val="646464"/>
                </a:solidFill>
                <a:latin typeface="Calibri" panose="020F0502020204030204" pitchFamily="34" charset="0"/>
              </a:rPr>
              <a:t> </a:t>
            </a:r>
            <a:r>
              <a:rPr sz="1960" dirty="0">
                <a:solidFill>
                  <a:srgbClr val="646464"/>
                </a:solidFill>
                <a:latin typeface="Calibri" panose="020F0502020204030204" pitchFamily="34" charset="0"/>
              </a:rPr>
              <a:t>Sensitivity</a:t>
            </a:r>
          </a:p>
        </p:txBody>
      </p:sp>
      <p:sp>
        <p:nvSpPr>
          <p:cNvPr id="9" name="object 9"/>
          <p:cNvSpPr/>
          <p:nvPr/>
        </p:nvSpPr>
        <p:spPr>
          <a:xfrm>
            <a:off x="8059140" y="2357520"/>
            <a:ext cx="4162719" cy="3371124"/>
          </a:xfrm>
          <a:custGeom>
            <a:avLst/>
            <a:gdLst/>
            <a:ahLst/>
            <a:cxnLst/>
            <a:rect l="l" t="t" r="r" b="b"/>
            <a:pathLst>
              <a:path w="4247515" h="3439795">
                <a:moveTo>
                  <a:pt x="0" y="3439706"/>
                </a:moveTo>
                <a:lnTo>
                  <a:pt x="4247133" y="0"/>
                </a:lnTo>
              </a:path>
            </a:pathLst>
          </a:custGeom>
          <a:ln w="57912">
            <a:solidFill>
              <a:srgbClr val="FFFF00"/>
            </a:solidFill>
          </a:ln>
        </p:spPr>
        <p:txBody>
          <a:bodyPr wrap="square" lIns="0" tIns="0" rIns="0" bIns="0" rtlCol="0"/>
          <a:lstStyle/>
          <a:p>
            <a:pPr defTabSz="896112"/>
            <a:endParaRPr sz="1764">
              <a:solidFill>
                <a:srgbClr val="005CB9"/>
              </a:solidFill>
              <a:latin typeface="Arial"/>
            </a:endParaRPr>
          </a:p>
        </p:txBody>
      </p:sp>
      <p:sp>
        <p:nvSpPr>
          <p:cNvPr id="10" name="object 10"/>
          <p:cNvSpPr/>
          <p:nvPr/>
        </p:nvSpPr>
        <p:spPr>
          <a:xfrm>
            <a:off x="8144274" y="2357520"/>
            <a:ext cx="258886" cy="3371124"/>
          </a:xfrm>
          <a:custGeom>
            <a:avLst/>
            <a:gdLst/>
            <a:ahLst/>
            <a:cxnLst/>
            <a:rect l="l" t="t" r="r" b="b"/>
            <a:pathLst>
              <a:path w="264160" h="3439795">
                <a:moveTo>
                  <a:pt x="0" y="3439706"/>
                </a:moveTo>
                <a:lnTo>
                  <a:pt x="264032" y="0"/>
                </a:lnTo>
              </a:path>
            </a:pathLst>
          </a:custGeom>
          <a:ln w="57911">
            <a:solidFill>
              <a:srgbClr val="00AFEF"/>
            </a:solidFill>
          </a:ln>
        </p:spPr>
        <p:txBody>
          <a:bodyPr wrap="square" lIns="0" tIns="0" rIns="0" bIns="0" rtlCol="0"/>
          <a:lstStyle/>
          <a:p>
            <a:pPr defTabSz="896112"/>
            <a:endParaRPr sz="1764">
              <a:solidFill>
                <a:srgbClr val="005CB9"/>
              </a:solidFill>
              <a:latin typeface="Arial"/>
            </a:endParaRPr>
          </a:p>
        </p:txBody>
      </p:sp>
      <p:sp>
        <p:nvSpPr>
          <p:cNvPr id="11" name="object 11"/>
          <p:cNvSpPr/>
          <p:nvPr/>
        </p:nvSpPr>
        <p:spPr>
          <a:xfrm>
            <a:off x="8144274" y="2314206"/>
            <a:ext cx="4119156" cy="11202"/>
          </a:xfrm>
          <a:custGeom>
            <a:avLst/>
            <a:gdLst/>
            <a:ahLst/>
            <a:cxnLst/>
            <a:rect l="l" t="t" r="r" b="b"/>
            <a:pathLst>
              <a:path w="4203065" h="11430">
                <a:moveTo>
                  <a:pt x="0" y="0"/>
                </a:moveTo>
                <a:lnTo>
                  <a:pt x="4202684" y="11048"/>
                </a:lnTo>
              </a:path>
            </a:pathLst>
          </a:custGeom>
          <a:ln w="9144">
            <a:solidFill>
              <a:srgbClr val="000000"/>
            </a:solidFill>
            <a:prstDash val="dash"/>
          </a:ln>
        </p:spPr>
        <p:txBody>
          <a:bodyPr wrap="square" lIns="0" tIns="0" rIns="0" bIns="0" rtlCol="0"/>
          <a:lstStyle/>
          <a:p>
            <a:pPr defTabSz="896112"/>
            <a:endParaRPr sz="1764">
              <a:solidFill>
                <a:srgbClr val="005CB9"/>
              </a:solidFill>
              <a:latin typeface="Arial"/>
            </a:endParaRPr>
          </a:p>
        </p:txBody>
      </p:sp>
      <p:sp>
        <p:nvSpPr>
          <p:cNvPr id="12" name="object 12"/>
          <p:cNvSpPr/>
          <p:nvPr/>
        </p:nvSpPr>
        <p:spPr>
          <a:xfrm>
            <a:off x="12221734" y="2396602"/>
            <a:ext cx="0" cy="3288977"/>
          </a:xfrm>
          <a:custGeom>
            <a:avLst/>
            <a:gdLst/>
            <a:ahLst/>
            <a:cxnLst/>
            <a:rect l="l" t="t" r="r" b="b"/>
            <a:pathLst>
              <a:path h="3355975">
                <a:moveTo>
                  <a:pt x="0" y="0"/>
                </a:moveTo>
                <a:lnTo>
                  <a:pt x="0" y="3355594"/>
                </a:lnTo>
              </a:path>
            </a:pathLst>
          </a:custGeom>
          <a:ln w="9144">
            <a:solidFill>
              <a:srgbClr val="000000"/>
            </a:solidFill>
            <a:prstDash val="dash"/>
          </a:ln>
        </p:spPr>
        <p:txBody>
          <a:bodyPr wrap="square" lIns="0" tIns="0" rIns="0" bIns="0" rtlCol="0"/>
          <a:lstStyle/>
          <a:p>
            <a:pPr defTabSz="896112"/>
            <a:endParaRPr sz="1764">
              <a:solidFill>
                <a:srgbClr val="005CB9"/>
              </a:solidFill>
              <a:latin typeface="Arial"/>
            </a:endParaRPr>
          </a:p>
        </p:txBody>
      </p:sp>
      <p:sp>
        <p:nvSpPr>
          <p:cNvPr id="13" name="object 13"/>
          <p:cNvSpPr/>
          <p:nvPr/>
        </p:nvSpPr>
        <p:spPr>
          <a:xfrm>
            <a:off x="8144274" y="2378429"/>
            <a:ext cx="4117912" cy="3254750"/>
          </a:xfrm>
          <a:custGeom>
            <a:avLst/>
            <a:gdLst/>
            <a:ahLst/>
            <a:cxnLst/>
            <a:rect l="l" t="t" r="r" b="b"/>
            <a:pathLst>
              <a:path w="4201795" h="3321050">
                <a:moveTo>
                  <a:pt x="0" y="3320796"/>
                </a:moveTo>
                <a:lnTo>
                  <a:pt x="22244" y="3271309"/>
                </a:lnTo>
                <a:lnTo>
                  <a:pt x="44227" y="3223133"/>
                </a:lnTo>
                <a:lnTo>
                  <a:pt x="65686" y="3177528"/>
                </a:lnTo>
                <a:lnTo>
                  <a:pt x="86360" y="3135757"/>
                </a:lnTo>
                <a:lnTo>
                  <a:pt x="107062" y="3098960"/>
                </a:lnTo>
                <a:lnTo>
                  <a:pt x="127587" y="3066272"/>
                </a:lnTo>
                <a:lnTo>
                  <a:pt x="146421" y="3035655"/>
                </a:lnTo>
                <a:lnTo>
                  <a:pt x="162051" y="3005074"/>
                </a:lnTo>
                <a:lnTo>
                  <a:pt x="172898" y="2974859"/>
                </a:lnTo>
                <a:lnTo>
                  <a:pt x="180244" y="2945860"/>
                </a:lnTo>
                <a:lnTo>
                  <a:pt x="186590" y="2916527"/>
                </a:lnTo>
                <a:lnTo>
                  <a:pt x="194437" y="2885313"/>
                </a:lnTo>
                <a:lnTo>
                  <a:pt x="203452" y="2851953"/>
                </a:lnTo>
                <a:lnTo>
                  <a:pt x="212645" y="2817225"/>
                </a:lnTo>
                <a:lnTo>
                  <a:pt x="223529" y="2781139"/>
                </a:lnTo>
                <a:lnTo>
                  <a:pt x="237617" y="2743708"/>
                </a:lnTo>
                <a:lnTo>
                  <a:pt x="256682" y="2703901"/>
                </a:lnTo>
                <a:lnTo>
                  <a:pt x="279463" y="2662047"/>
                </a:lnTo>
                <a:lnTo>
                  <a:pt x="302910" y="2620192"/>
                </a:lnTo>
                <a:lnTo>
                  <a:pt x="323976" y="2580386"/>
                </a:lnTo>
                <a:lnTo>
                  <a:pt x="340975" y="2544492"/>
                </a:lnTo>
                <a:lnTo>
                  <a:pt x="355758" y="2510980"/>
                </a:lnTo>
                <a:lnTo>
                  <a:pt x="370875" y="2476801"/>
                </a:lnTo>
                <a:lnTo>
                  <a:pt x="388874" y="2438908"/>
                </a:lnTo>
                <a:lnTo>
                  <a:pt x="410358" y="2396438"/>
                </a:lnTo>
                <a:lnTo>
                  <a:pt x="434070" y="2351087"/>
                </a:lnTo>
                <a:lnTo>
                  <a:pt x="459472" y="2303355"/>
                </a:lnTo>
                <a:lnTo>
                  <a:pt x="486029" y="2253742"/>
                </a:lnTo>
                <a:lnTo>
                  <a:pt x="509644" y="2210401"/>
                </a:lnTo>
                <a:lnTo>
                  <a:pt x="535662" y="2163293"/>
                </a:lnTo>
                <a:lnTo>
                  <a:pt x="561759" y="2116088"/>
                </a:lnTo>
                <a:lnTo>
                  <a:pt x="585613" y="2072455"/>
                </a:lnTo>
                <a:lnTo>
                  <a:pt x="604901" y="2036064"/>
                </a:lnTo>
                <a:lnTo>
                  <a:pt x="619452" y="2003867"/>
                </a:lnTo>
                <a:lnTo>
                  <a:pt x="627110" y="1981565"/>
                </a:lnTo>
                <a:lnTo>
                  <a:pt x="634458" y="1962001"/>
                </a:lnTo>
                <a:lnTo>
                  <a:pt x="670002" y="1907153"/>
                </a:lnTo>
                <a:lnTo>
                  <a:pt x="696674" y="1873392"/>
                </a:lnTo>
                <a:lnTo>
                  <a:pt x="726037" y="1839275"/>
                </a:lnTo>
                <a:lnTo>
                  <a:pt x="756031" y="1807337"/>
                </a:lnTo>
                <a:lnTo>
                  <a:pt x="785667" y="1779883"/>
                </a:lnTo>
                <a:lnTo>
                  <a:pt x="816149" y="1754965"/>
                </a:lnTo>
                <a:lnTo>
                  <a:pt x="848989" y="1729023"/>
                </a:lnTo>
                <a:lnTo>
                  <a:pt x="885698" y="1698498"/>
                </a:lnTo>
                <a:lnTo>
                  <a:pt x="919134" y="1668808"/>
                </a:lnTo>
                <a:lnTo>
                  <a:pt x="955771" y="1635540"/>
                </a:lnTo>
                <a:lnTo>
                  <a:pt x="994054" y="1600785"/>
                </a:lnTo>
                <a:lnTo>
                  <a:pt x="1032428" y="1566633"/>
                </a:lnTo>
                <a:lnTo>
                  <a:pt x="1069339" y="1535176"/>
                </a:lnTo>
                <a:lnTo>
                  <a:pt x="1114831" y="1498933"/>
                </a:lnTo>
                <a:lnTo>
                  <a:pt x="1160478" y="1464405"/>
                </a:lnTo>
                <a:lnTo>
                  <a:pt x="1203767" y="1432591"/>
                </a:lnTo>
                <a:lnTo>
                  <a:pt x="1242187" y="1404493"/>
                </a:lnTo>
                <a:lnTo>
                  <a:pt x="1297495" y="1366440"/>
                </a:lnTo>
                <a:lnTo>
                  <a:pt x="1321625" y="1349932"/>
                </a:lnTo>
                <a:lnTo>
                  <a:pt x="1350137" y="1328293"/>
                </a:lnTo>
                <a:lnTo>
                  <a:pt x="1385397" y="1298461"/>
                </a:lnTo>
                <a:lnTo>
                  <a:pt x="1424384" y="1263665"/>
                </a:lnTo>
                <a:lnTo>
                  <a:pt x="1464061" y="1228512"/>
                </a:lnTo>
                <a:lnTo>
                  <a:pt x="1501394" y="1197610"/>
                </a:lnTo>
                <a:lnTo>
                  <a:pt x="1533511" y="1173069"/>
                </a:lnTo>
                <a:lnTo>
                  <a:pt x="1593744" y="1132083"/>
                </a:lnTo>
                <a:lnTo>
                  <a:pt x="1630934" y="1110614"/>
                </a:lnTo>
                <a:lnTo>
                  <a:pt x="1677467" y="1087633"/>
                </a:lnTo>
                <a:lnTo>
                  <a:pt x="1730216" y="1064307"/>
                </a:lnTo>
                <a:lnTo>
                  <a:pt x="1784631" y="1039623"/>
                </a:lnTo>
                <a:lnTo>
                  <a:pt x="1836165" y="1012571"/>
                </a:lnTo>
                <a:lnTo>
                  <a:pt x="1884148" y="981436"/>
                </a:lnTo>
                <a:lnTo>
                  <a:pt x="1930749" y="947229"/>
                </a:lnTo>
                <a:lnTo>
                  <a:pt x="1975969" y="913022"/>
                </a:lnTo>
                <a:lnTo>
                  <a:pt x="2019808" y="881888"/>
                </a:lnTo>
                <a:lnTo>
                  <a:pt x="2062612" y="854854"/>
                </a:lnTo>
                <a:lnTo>
                  <a:pt x="2104215" y="830214"/>
                </a:lnTo>
                <a:lnTo>
                  <a:pt x="2144127" y="806932"/>
                </a:lnTo>
                <a:lnTo>
                  <a:pt x="2181860" y="783971"/>
                </a:lnTo>
                <a:lnTo>
                  <a:pt x="2212244" y="763714"/>
                </a:lnTo>
                <a:lnTo>
                  <a:pt x="2237200" y="745839"/>
                </a:lnTo>
                <a:lnTo>
                  <a:pt x="2266870" y="725249"/>
                </a:lnTo>
                <a:lnTo>
                  <a:pt x="2311400" y="696849"/>
                </a:lnTo>
                <a:lnTo>
                  <a:pt x="2348249" y="674415"/>
                </a:lnTo>
                <a:lnTo>
                  <a:pt x="2393241" y="647310"/>
                </a:lnTo>
                <a:lnTo>
                  <a:pt x="2443071" y="617532"/>
                </a:lnTo>
                <a:lnTo>
                  <a:pt x="2494436" y="587081"/>
                </a:lnTo>
                <a:lnTo>
                  <a:pt x="2544034" y="557956"/>
                </a:lnTo>
                <a:lnTo>
                  <a:pt x="2588559" y="532157"/>
                </a:lnTo>
                <a:lnTo>
                  <a:pt x="2624709" y="511683"/>
                </a:lnTo>
                <a:lnTo>
                  <a:pt x="2666051" y="489420"/>
                </a:lnTo>
                <a:lnTo>
                  <a:pt x="2712255" y="469374"/>
                </a:lnTo>
                <a:lnTo>
                  <a:pt x="2743454" y="457326"/>
                </a:lnTo>
                <a:lnTo>
                  <a:pt x="2787219" y="440027"/>
                </a:lnTo>
                <a:lnTo>
                  <a:pt x="2836687" y="421227"/>
                </a:lnTo>
                <a:lnTo>
                  <a:pt x="2890847" y="401427"/>
                </a:lnTo>
                <a:lnTo>
                  <a:pt x="2948686" y="381126"/>
                </a:lnTo>
                <a:lnTo>
                  <a:pt x="3024326" y="355994"/>
                </a:lnTo>
                <a:lnTo>
                  <a:pt x="3113468" y="327326"/>
                </a:lnTo>
                <a:lnTo>
                  <a:pt x="3187751" y="303778"/>
                </a:lnTo>
                <a:lnTo>
                  <a:pt x="3266555" y="279098"/>
                </a:lnTo>
                <a:lnTo>
                  <a:pt x="3305175" y="267430"/>
                </a:lnTo>
                <a:lnTo>
                  <a:pt x="3343794" y="255428"/>
                </a:lnTo>
                <a:lnTo>
                  <a:pt x="3391535" y="239522"/>
                </a:lnTo>
                <a:lnTo>
                  <a:pt x="3431458" y="225336"/>
                </a:lnTo>
                <a:lnTo>
                  <a:pt x="3476018" y="208886"/>
                </a:lnTo>
                <a:lnTo>
                  <a:pt x="3523265" y="191230"/>
                </a:lnTo>
                <a:lnTo>
                  <a:pt x="3571254" y="173425"/>
                </a:lnTo>
                <a:lnTo>
                  <a:pt x="3618035" y="156531"/>
                </a:lnTo>
                <a:lnTo>
                  <a:pt x="3661664" y="141604"/>
                </a:lnTo>
                <a:lnTo>
                  <a:pt x="3711856" y="125890"/>
                </a:lnTo>
                <a:lnTo>
                  <a:pt x="3761695" y="111504"/>
                </a:lnTo>
                <a:lnTo>
                  <a:pt x="3809120" y="98436"/>
                </a:lnTo>
                <a:lnTo>
                  <a:pt x="3852070" y="86671"/>
                </a:lnTo>
                <a:lnTo>
                  <a:pt x="3888486" y="76200"/>
                </a:lnTo>
                <a:lnTo>
                  <a:pt x="3922901" y="65260"/>
                </a:lnTo>
                <a:lnTo>
                  <a:pt x="3947874" y="56499"/>
                </a:lnTo>
                <a:lnTo>
                  <a:pt x="3967442" y="49428"/>
                </a:lnTo>
                <a:lnTo>
                  <a:pt x="3985641" y="43561"/>
                </a:lnTo>
                <a:lnTo>
                  <a:pt x="4004683" y="38800"/>
                </a:lnTo>
                <a:lnTo>
                  <a:pt x="4022058" y="35385"/>
                </a:lnTo>
                <a:lnTo>
                  <a:pt x="4034718" y="33327"/>
                </a:lnTo>
                <a:lnTo>
                  <a:pt x="4039616" y="32638"/>
                </a:lnTo>
                <a:lnTo>
                  <a:pt x="4147692" y="10922"/>
                </a:lnTo>
                <a:lnTo>
                  <a:pt x="4201668" y="0"/>
                </a:lnTo>
              </a:path>
            </a:pathLst>
          </a:custGeom>
          <a:ln w="57911">
            <a:solidFill>
              <a:srgbClr val="FF0000"/>
            </a:solidFill>
          </a:ln>
        </p:spPr>
        <p:txBody>
          <a:bodyPr wrap="square" lIns="0" tIns="0" rIns="0" bIns="0" rtlCol="0"/>
          <a:lstStyle/>
          <a:p>
            <a:pPr defTabSz="896112"/>
            <a:endParaRPr sz="1764">
              <a:solidFill>
                <a:srgbClr val="005CB9"/>
              </a:solidFill>
              <a:latin typeface="Arial"/>
            </a:endParaRPr>
          </a:p>
        </p:txBody>
      </p:sp>
      <p:sp>
        <p:nvSpPr>
          <p:cNvPr id="14" name="object 14"/>
          <p:cNvSpPr/>
          <p:nvPr/>
        </p:nvSpPr>
        <p:spPr>
          <a:xfrm>
            <a:off x="8392208" y="2347065"/>
            <a:ext cx="3859025" cy="21159"/>
          </a:xfrm>
          <a:custGeom>
            <a:avLst/>
            <a:gdLst/>
            <a:ahLst/>
            <a:cxnLst/>
            <a:rect l="l" t="t" r="r" b="b"/>
            <a:pathLst>
              <a:path w="3937635" h="21589">
                <a:moveTo>
                  <a:pt x="3937507" y="21589"/>
                </a:moveTo>
                <a:lnTo>
                  <a:pt x="0" y="0"/>
                </a:lnTo>
              </a:path>
            </a:pathLst>
          </a:custGeom>
          <a:ln w="57912">
            <a:solidFill>
              <a:srgbClr val="00AFEF"/>
            </a:solidFill>
          </a:ln>
        </p:spPr>
        <p:txBody>
          <a:bodyPr wrap="square" lIns="0" tIns="0" rIns="0" bIns="0" rtlCol="0"/>
          <a:lstStyle/>
          <a:p>
            <a:pPr defTabSz="896112"/>
            <a:endParaRPr sz="1764">
              <a:solidFill>
                <a:srgbClr val="005CB9"/>
              </a:solidFill>
              <a:latin typeface="Arial"/>
            </a:endParaRPr>
          </a:p>
        </p:txBody>
      </p:sp>
      <p:sp>
        <p:nvSpPr>
          <p:cNvPr id="15" name="object 15"/>
          <p:cNvSpPr/>
          <p:nvPr/>
        </p:nvSpPr>
        <p:spPr>
          <a:xfrm>
            <a:off x="8134566" y="2410542"/>
            <a:ext cx="4088040" cy="3303913"/>
          </a:xfrm>
          <a:custGeom>
            <a:avLst/>
            <a:gdLst/>
            <a:ahLst/>
            <a:cxnLst/>
            <a:rect l="l" t="t" r="r" b="b"/>
            <a:pathLst>
              <a:path w="4171315" h="3371215">
                <a:moveTo>
                  <a:pt x="4171188" y="0"/>
                </a:moveTo>
                <a:lnTo>
                  <a:pt x="0" y="3371088"/>
                </a:lnTo>
                <a:lnTo>
                  <a:pt x="4171188" y="3371088"/>
                </a:lnTo>
                <a:lnTo>
                  <a:pt x="4171188" y="0"/>
                </a:lnTo>
                <a:close/>
              </a:path>
            </a:pathLst>
          </a:custGeom>
          <a:solidFill>
            <a:srgbClr val="009FDA"/>
          </a:solidFill>
        </p:spPr>
        <p:txBody>
          <a:bodyPr wrap="square" lIns="0" tIns="0" rIns="0" bIns="0" rtlCol="0"/>
          <a:lstStyle/>
          <a:p>
            <a:pPr defTabSz="896112"/>
            <a:endParaRPr sz="1764">
              <a:solidFill>
                <a:srgbClr val="005CB9"/>
              </a:solidFill>
              <a:latin typeface="Arial"/>
            </a:endParaRPr>
          </a:p>
        </p:txBody>
      </p:sp>
      <p:sp>
        <p:nvSpPr>
          <p:cNvPr id="16" name="object 16"/>
          <p:cNvSpPr/>
          <p:nvPr/>
        </p:nvSpPr>
        <p:spPr>
          <a:xfrm>
            <a:off x="8134566" y="2410542"/>
            <a:ext cx="4088040" cy="3303913"/>
          </a:xfrm>
          <a:custGeom>
            <a:avLst/>
            <a:gdLst/>
            <a:ahLst/>
            <a:cxnLst/>
            <a:rect l="l" t="t" r="r" b="b"/>
            <a:pathLst>
              <a:path w="4171315" h="3371215">
                <a:moveTo>
                  <a:pt x="4171188" y="3371088"/>
                </a:moveTo>
                <a:lnTo>
                  <a:pt x="0" y="3371088"/>
                </a:lnTo>
                <a:lnTo>
                  <a:pt x="4171188" y="0"/>
                </a:lnTo>
                <a:lnTo>
                  <a:pt x="4171188" y="3371088"/>
                </a:lnTo>
                <a:close/>
              </a:path>
            </a:pathLst>
          </a:custGeom>
          <a:ln w="25908">
            <a:solidFill>
              <a:srgbClr val="00749F"/>
            </a:solidFill>
          </a:ln>
        </p:spPr>
        <p:txBody>
          <a:bodyPr wrap="square" lIns="0" tIns="0" rIns="0" bIns="0" rtlCol="0"/>
          <a:lstStyle/>
          <a:p>
            <a:pPr defTabSz="896112"/>
            <a:endParaRPr sz="1764">
              <a:solidFill>
                <a:srgbClr val="005CB9"/>
              </a:solidFill>
              <a:latin typeface="Arial"/>
            </a:endParaRPr>
          </a:p>
        </p:txBody>
      </p:sp>
      <p:sp>
        <p:nvSpPr>
          <p:cNvPr id="17" name="object 17"/>
          <p:cNvSpPr/>
          <p:nvPr/>
        </p:nvSpPr>
        <p:spPr>
          <a:xfrm>
            <a:off x="8501965" y="2700296"/>
            <a:ext cx="3586447" cy="3139620"/>
          </a:xfrm>
          <a:custGeom>
            <a:avLst/>
            <a:gdLst/>
            <a:ahLst/>
            <a:cxnLst/>
            <a:rect l="l" t="t" r="r" b="b"/>
            <a:pathLst>
              <a:path w="3659504" h="3203575">
                <a:moveTo>
                  <a:pt x="3013221" y="0"/>
                </a:moveTo>
                <a:lnTo>
                  <a:pt x="3062544" y="50639"/>
                </a:lnTo>
                <a:lnTo>
                  <a:pt x="3111605" y="101075"/>
                </a:lnTo>
                <a:lnTo>
                  <a:pt x="3160140" y="151106"/>
                </a:lnTo>
                <a:lnTo>
                  <a:pt x="3207887" y="200528"/>
                </a:lnTo>
                <a:lnTo>
                  <a:pt x="3254583" y="249139"/>
                </a:lnTo>
                <a:lnTo>
                  <a:pt x="3299967" y="296736"/>
                </a:lnTo>
                <a:lnTo>
                  <a:pt x="3343774" y="343116"/>
                </a:lnTo>
                <a:lnTo>
                  <a:pt x="3385743" y="388076"/>
                </a:lnTo>
                <a:lnTo>
                  <a:pt x="3425611" y="431414"/>
                </a:lnTo>
                <a:lnTo>
                  <a:pt x="3463115" y="472926"/>
                </a:lnTo>
                <a:lnTo>
                  <a:pt x="3497993" y="512410"/>
                </a:lnTo>
                <a:lnTo>
                  <a:pt x="3529982" y="549663"/>
                </a:lnTo>
                <a:lnTo>
                  <a:pt x="3558819" y="584482"/>
                </a:lnTo>
                <a:lnTo>
                  <a:pt x="3584242" y="616664"/>
                </a:lnTo>
                <a:lnTo>
                  <a:pt x="3623794" y="672308"/>
                </a:lnTo>
                <a:lnTo>
                  <a:pt x="3646537" y="714971"/>
                </a:lnTo>
                <a:lnTo>
                  <a:pt x="3650948" y="730928"/>
                </a:lnTo>
                <a:lnTo>
                  <a:pt x="3650370" y="743031"/>
                </a:lnTo>
                <a:lnTo>
                  <a:pt x="3644538" y="751077"/>
                </a:lnTo>
                <a:lnTo>
                  <a:pt x="3633413" y="752882"/>
                </a:lnTo>
                <a:lnTo>
                  <a:pt x="3614833" y="748637"/>
                </a:lnTo>
                <a:lnTo>
                  <a:pt x="3557963" y="724204"/>
                </a:lnTo>
                <a:lnTo>
                  <a:pt x="3520998" y="705119"/>
                </a:lnTo>
                <a:lnTo>
                  <a:pt x="3479229" y="682191"/>
                </a:lnTo>
                <a:lnTo>
                  <a:pt x="3433318" y="655972"/>
                </a:lnTo>
                <a:lnTo>
                  <a:pt x="3383930" y="627014"/>
                </a:lnTo>
                <a:lnTo>
                  <a:pt x="3331725" y="595868"/>
                </a:lnTo>
                <a:lnTo>
                  <a:pt x="3277366" y="563087"/>
                </a:lnTo>
                <a:lnTo>
                  <a:pt x="3221516" y="529222"/>
                </a:lnTo>
                <a:lnTo>
                  <a:pt x="3164838" y="494825"/>
                </a:lnTo>
                <a:lnTo>
                  <a:pt x="3107994" y="460447"/>
                </a:lnTo>
                <a:lnTo>
                  <a:pt x="3051646" y="426641"/>
                </a:lnTo>
                <a:lnTo>
                  <a:pt x="2996457" y="393959"/>
                </a:lnTo>
                <a:lnTo>
                  <a:pt x="2943090" y="362951"/>
                </a:lnTo>
                <a:lnTo>
                  <a:pt x="2892207" y="334171"/>
                </a:lnTo>
                <a:lnTo>
                  <a:pt x="2844470" y="308169"/>
                </a:lnTo>
                <a:lnTo>
                  <a:pt x="2800542" y="285498"/>
                </a:lnTo>
                <a:lnTo>
                  <a:pt x="2761086" y="266710"/>
                </a:lnTo>
                <a:lnTo>
                  <a:pt x="2698238" y="242987"/>
                </a:lnTo>
                <a:lnTo>
                  <a:pt x="2676171" y="239157"/>
                </a:lnTo>
                <a:lnTo>
                  <a:pt x="2661226" y="241416"/>
                </a:lnTo>
                <a:lnTo>
                  <a:pt x="2654065" y="250316"/>
                </a:lnTo>
                <a:lnTo>
                  <a:pt x="2654559" y="262996"/>
                </a:lnTo>
                <a:lnTo>
                  <a:pt x="2672055" y="303242"/>
                </a:lnTo>
                <a:lnTo>
                  <a:pt x="2708897" y="360911"/>
                </a:lnTo>
                <a:lnTo>
                  <a:pt x="2733573" y="395370"/>
                </a:lnTo>
                <a:lnTo>
                  <a:pt x="2761885" y="433092"/>
                </a:lnTo>
                <a:lnTo>
                  <a:pt x="2793433" y="473715"/>
                </a:lnTo>
                <a:lnTo>
                  <a:pt x="2827817" y="516874"/>
                </a:lnTo>
                <a:lnTo>
                  <a:pt x="2864637" y="562206"/>
                </a:lnTo>
                <a:lnTo>
                  <a:pt x="2903494" y="609347"/>
                </a:lnTo>
                <a:lnTo>
                  <a:pt x="2943986" y="657932"/>
                </a:lnTo>
                <a:lnTo>
                  <a:pt x="2985715" y="707598"/>
                </a:lnTo>
                <a:lnTo>
                  <a:pt x="3028279" y="757981"/>
                </a:lnTo>
                <a:lnTo>
                  <a:pt x="3071280" y="808717"/>
                </a:lnTo>
                <a:lnTo>
                  <a:pt x="3114316" y="859442"/>
                </a:lnTo>
                <a:lnTo>
                  <a:pt x="3156988" y="909793"/>
                </a:lnTo>
                <a:lnTo>
                  <a:pt x="3198896" y="959406"/>
                </a:lnTo>
                <a:lnTo>
                  <a:pt x="3239640" y="1007915"/>
                </a:lnTo>
                <a:lnTo>
                  <a:pt x="3278820" y="1054959"/>
                </a:lnTo>
                <a:lnTo>
                  <a:pt x="3316035" y="1100173"/>
                </a:lnTo>
                <a:lnTo>
                  <a:pt x="3350885" y="1143192"/>
                </a:lnTo>
                <a:lnTo>
                  <a:pt x="3382972" y="1183654"/>
                </a:lnTo>
                <a:lnTo>
                  <a:pt x="3411894" y="1221194"/>
                </a:lnTo>
                <a:lnTo>
                  <a:pt x="3437251" y="1255448"/>
                </a:lnTo>
                <a:lnTo>
                  <a:pt x="3475672" y="1312645"/>
                </a:lnTo>
                <a:lnTo>
                  <a:pt x="3495035" y="1352332"/>
                </a:lnTo>
                <a:lnTo>
                  <a:pt x="3496569" y="1364700"/>
                </a:lnTo>
                <a:lnTo>
                  <a:pt x="3492138" y="1371600"/>
                </a:lnTo>
                <a:lnTo>
                  <a:pt x="3482968" y="1372612"/>
                </a:lnTo>
                <a:lnTo>
                  <a:pt x="3468663" y="1368900"/>
                </a:lnTo>
                <a:lnTo>
                  <a:pt x="3425916" y="1348463"/>
                </a:lnTo>
                <a:lnTo>
                  <a:pt x="3366430" y="1312605"/>
                </a:lnTo>
                <a:lnTo>
                  <a:pt x="3331199" y="1289618"/>
                </a:lnTo>
                <a:lnTo>
                  <a:pt x="3292733" y="1263646"/>
                </a:lnTo>
                <a:lnTo>
                  <a:pt x="3251346" y="1234977"/>
                </a:lnTo>
                <a:lnTo>
                  <a:pt x="3207357" y="1203903"/>
                </a:lnTo>
                <a:lnTo>
                  <a:pt x="3161080" y="1170712"/>
                </a:lnTo>
                <a:lnTo>
                  <a:pt x="3112832" y="1135695"/>
                </a:lnTo>
                <a:lnTo>
                  <a:pt x="3062929" y="1099141"/>
                </a:lnTo>
                <a:lnTo>
                  <a:pt x="3011689" y="1061340"/>
                </a:lnTo>
                <a:lnTo>
                  <a:pt x="2959426" y="1022581"/>
                </a:lnTo>
                <a:lnTo>
                  <a:pt x="2906458" y="983156"/>
                </a:lnTo>
                <a:lnTo>
                  <a:pt x="2853101" y="943353"/>
                </a:lnTo>
                <a:lnTo>
                  <a:pt x="2799671" y="903462"/>
                </a:lnTo>
                <a:lnTo>
                  <a:pt x="2746484" y="863773"/>
                </a:lnTo>
                <a:lnTo>
                  <a:pt x="2693857" y="824575"/>
                </a:lnTo>
                <a:lnTo>
                  <a:pt x="2642106" y="786160"/>
                </a:lnTo>
                <a:lnTo>
                  <a:pt x="2591548" y="748815"/>
                </a:lnTo>
                <a:lnTo>
                  <a:pt x="2542498" y="712832"/>
                </a:lnTo>
                <a:lnTo>
                  <a:pt x="2495273" y="678499"/>
                </a:lnTo>
                <a:lnTo>
                  <a:pt x="2450190" y="646108"/>
                </a:lnTo>
                <a:lnTo>
                  <a:pt x="2407564" y="615946"/>
                </a:lnTo>
                <a:lnTo>
                  <a:pt x="2367712" y="588305"/>
                </a:lnTo>
                <a:lnTo>
                  <a:pt x="2330951" y="563474"/>
                </a:lnTo>
                <a:lnTo>
                  <a:pt x="2297596" y="541743"/>
                </a:lnTo>
                <a:lnTo>
                  <a:pt x="2242372" y="508739"/>
                </a:lnTo>
                <a:lnTo>
                  <a:pt x="2204570" y="491612"/>
                </a:lnTo>
                <a:lnTo>
                  <a:pt x="2192993" y="489726"/>
                </a:lnTo>
                <a:lnTo>
                  <a:pt x="2186721" y="492679"/>
                </a:lnTo>
                <a:lnTo>
                  <a:pt x="2186070" y="500761"/>
                </a:lnTo>
                <a:lnTo>
                  <a:pt x="2189943" y="511029"/>
                </a:lnTo>
                <a:lnTo>
                  <a:pt x="2225222" y="562914"/>
                </a:lnTo>
                <a:lnTo>
                  <a:pt x="2266533" y="613368"/>
                </a:lnTo>
                <a:lnTo>
                  <a:pt x="2291949" y="642845"/>
                </a:lnTo>
                <a:lnTo>
                  <a:pt x="2320281" y="674927"/>
                </a:lnTo>
                <a:lnTo>
                  <a:pt x="2351337" y="709445"/>
                </a:lnTo>
                <a:lnTo>
                  <a:pt x="2384924" y="746229"/>
                </a:lnTo>
                <a:lnTo>
                  <a:pt x="2420850" y="785108"/>
                </a:lnTo>
                <a:lnTo>
                  <a:pt x="2458922" y="825913"/>
                </a:lnTo>
                <a:lnTo>
                  <a:pt x="2498948" y="868474"/>
                </a:lnTo>
                <a:lnTo>
                  <a:pt x="2540735" y="912619"/>
                </a:lnTo>
                <a:lnTo>
                  <a:pt x="2584091" y="958180"/>
                </a:lnTo>
                <a:lnTo>
                  <a:pt x="2628822" y="1004986"/>
                </a:lnTo>
                <a:lnTo>
                  <a:pt x="2674737" y="1052867"/>
                </a:lnTo>
                <a:lnTo>
                  <a:pt x="2721643" y="1101653"/>
                </a:lnTo>
                <a:lnTo>
                  <a:pt x="2769347" y="1151173"/>
                </a:lnTo>
                <a:lnTo>
                  <a:pt x="2817657" y="1201258"/>
                </a:lnTo>
                <a:lnTo>
                  <a:pt x="2866380" y="1251738"/>
                </a:lnTo>
                <a:lnTo>
                  <a:pt x="2915323" y="1302442"/>
                </a:lnTo>
                <a:lnTo>
                  <a:pt x="2964295" y="1353200"/>
                </a:lnTo>
                <a:lnTo>
                  <a:pt x="3013101" y="1403843"/>
                </a:lnTo>
                <a:lnTo>
                  <a:pt x="3061551" y="1454200"/>
                </a:lnTo>
                <a:lnTo>
                  <a:pt x="3109451" y="1504101"/>
                </a:lnTo>
                <a:lnTo>
                  <a:pt x="3156609" y="1553375"/>
                </a:lnTo>
                <a:lnTo>
                  <a:pt x="3202832" y="1601854"/>
                </a:lnTo>
                <a:lnTo>
                  <a:pt x="3247927" y="1649366"/>
                </a:lnTo>
                <a:lnTo>
                  <a:pt x="3291703" y="1695742"/>
                </a:lnTo>
                <a:lnTo>
                  <a:pt x="3333966" y="1740811"/>
                </a:lnTo>
                <a:lnTo>
                  <a:pt x="3374524" y="1784404"/>
                </a:lnTo>
                <a:lnTo>
                  <a:pt x="3413184" y="1826350"/>
                </a:lnTo>
                <a:lnTo>
                  <a:pt x="3449754" y="1866479"/>
                </a:lnTo>
                <a:lnTo>
                  <a:pt x="3484041" y="1904621"/>
                </a:lnTo>
                <a:lnTo>
                  <a:pt x="3515853" y="1940606"/>
                </a:lnTo>
                <a:lnTo>
                  <a:pt x="3544997" y="1974264"/>
                </a:lnTo>
                <a:lnTo>
                  <a:pt x="3571280" y="2005424"/>
                </a:lnTo>
                <a:lnTo>
                  <a:pt x="3614495" y="2059573"/>
                </a:lnTo>
                <a:lnTo>
                  <a:pt x="3643957" y="2101692"/>
                </a:lnTo>
                <a:lnTo>
                  <a:pt x="3658993" y="2139336"/>
                </a:lnTo>
                <a:lnTo>
                  <a:pt x="3655460" y="2144395"/>
                </a:lnTo>
                <a:lnTo>
                  <a:pt x="3648337" y="2145419"/>
                </a:lnTo>
                <a:lnTo>
                  <a:pt x="3637333" y="2143133"/>
                </a:lnTo>
                <a:lnTo>
                  <a:pt x="3582616" y="2117752"/>
                </a:lnTo>
                <a:lnTo>
                  <a:pt x="3529645" y="2086743"/>
                </a:lnTo>
                <a:lnTo>
                  <a:pt x="3464963" y="2045721"/>
                </a:lnTo>
                <a:lnTo>
                  <a:pt x="3428628" y="2021792"/>
                </a:lnTo>
                <a:lnTo>
                  <a:pt x="3389843" y="1995765"/>
                </a:lnTo>
                <a:lnTo>
                  <a:pt x="3348766" y="1967772"/>
                </a:lnTo>
                <a:lnTo>
                  <a:pt x="3305557" y="1937950"/>
                </a:lnTo>
                <a:lnTo>
                  <a:pt x="3260375" y="1906433"/>
                </a:lnTo>
                <a:lnTo>
                  <a:pt x="3213379" y="1873356"/>
                </a:lnTo>
                <a:lnTo>
                  <a:pt x="3164727" y="1838853"/>
                </a:lnTo>
                <a:lnTo>
                  <a:pt x="3114580" y="1803059"/>
                </a:lnTo>
                <a:lnTo>
                  <a:pt x="3063095" y="1766109"/>
                </a:lnTo>
                <a:lnTo>
                  <a:pt x="3010432" y="1728138"/>
                </a:lnTo>
                <a:lnTo>
                  <a:pt x="2956751" y="1689280"/>
                </a:lnTo>
                <a:lnTo>
                  <a:pt x="2902209" y="1649669"/>
                </a:lnTo>
                <a:lnTo>
                  <a:pt x="2846967" y="1609442"/>
                </a:lnTo>
                <a:lnTo>
                  <a:pt x="2791184" y="1568732"/>
                </a:lnTo>
                <a:lnTo>
                  <a:pt x="2735017" y="1527674"/>
                </a:lnTo>
                <a:lnTo>
                  <a:pt x="2678627" y="1486403"/>
                </a:lnTo>
                <a:lnTo>
                  <a:pt x="2622172" y="1445053"/>
                </a:lnTo>
                <a:lnTo>
                  <a:pt x="2565812" y="1403760"/>
                </a:lnTo>
                <a:lnTo>
                  <a:pt x="2509706" y="1362657"/>
                </a:lnTo>
                <a:lnTo>
                  <a:pt x="2454012" y="1321880"/>
                </a:lnTo>
                <a:lnTo>
                  <a:pt x="2398890" y="1281564"/>
                </a:lnTo>
                <a:lnTo>
                  <a:pt x="2344499" y="1241842"/>
                </a:lnTo>
                <a:lnTo>
                  <a:pt x="2290998" y="1202851"/>
                </a:lnTo>
                <a:lnTo>
                  <a:pt x="2238545" y="1164723"/>
                </a:lnTo>
                <a:lnTo>
                  <a:pt x="2187301" y="1127595"/>
                </a:lnTo>
                <a:lnTo>
                  <a:pt x="2137424" y="1091601"/>
                </a:lnTo>
                <a:lnTo>
                  <a:pt x="2089072" y="1056876"/>
                </a:lnTo>
                <a:lnTo>
                  <a:pt x="2042406" y="1023553"/>
                </a:lnTo>
                <a:lnTo>
                  <a:pt x="1997584" y="991769"/>
                </a:lnTo>
                <a:lnTo>
                  <a:pt x="1954766" y="961657"/>
                </a:lnTo>
                <a:lnTo>
                  <a:pt x="1914109" y="933353"/>
                </a:lnTo>
                <a:lnTo>
                  <a:pt x="1875775" y="906991"/>
                </a:lnTo>
                <a:lnTo>
                  <a:pt x="1839920" y="882706"/>
                </a:lnTo>
                <a:lnTo>
                  <a:pt x="1806705" y="860632"/>
                </a:lnTo>
                <a:lnTo>
                  <a:pt x="1748831" y="823659"/>
                </a:lnTo>
                <a:lnTo>
                  <a:pt x="1703423" y="797148"/>
                </a:lnTo>
                <a:lnTo>
                  <a:pt x="1661471" y="779356"/>
                </a:lnTo>
                <a:lnTo>
                  <a:pt x="1655098" y="779824"/>
                </a:lnTo>
                <a:lnTo>
                  <a:pt x="1652797" y="783716"/>
                </a:lnTo>
                <a:lnTo>
                  <a:pt x="1654467" y="790431"/>
                </a:lnTo>
                <a:lnTo>
                  <a:pt x="1680771" y="828329"/>
                </a:lnTo>
                <a:lnTo>
                  <a:pt x="1714710" y="867271"/>
                </a:lnTo>
                <a:lnTo>
                  <a:pt x="1760523" y="916109"/>
                </a:lnTo>
                <a:lnTo>
                  <a:pt x="1787547" y="943959"/>
                </a:lnTo>
                <a:lnTo>
                  <a:pt x="1817137" y="973947"/>
                </a:lnTo>
                <a:lnTo>
                  <a:pt x="1849159" y="1005961"/>
                </a:lnTo>
                <a:lnTo>
                  <a:pt x="1883479" y="1039889"/>
                </a:lnTo>
                <a:lnTo>
                  <a:pt x="1919963" y="1075619"/>
                </a:lnTo>
                <a:lnTo>
                  <a:pt x="1958478" y="1113040"/>
                </a:lnTo>
                <a:lnTo>
                  <a:pt x="1998889" y="1152038"/>
                </a:lnTo>
                <a:lnTo>
                  <a:pt x="2041062" y="1192503"/>
                </a:lnTo>
                <a:lnTo>
                  <a:pt x="2084863" y="1234322"/>
                </a:lnTo>
                <a:lnTo>
                  <a:pt x="2130158" y="1277384"/>
                </a:lnTo>
                <a:lnTo>
                  <a:pt x="2176813" y="1321576"/>
                </a:lnTo>
                <a:lnTo>
                  <a:pt x="2224695" y="1366786"/>
                </a:lnTo>
                <a:lnTo>
                  <a:pt x="2273669" y="1412902"/>
                </a:lnTo>
                <a:lnTo>
                  <a:pt x="2323600" y="1459813"/>
                </a:lnTo>
                <a:lnTo>
                  <a:pt x="2374356" y="1507406"/>
                </a:lnTo>
                <a:lnTo>
                  <a:pt x="2425802" y="1555570"/>
                </a:lnTo>
                <a:lnTo>
                  <a:pt x="2477805" y="1604192"/>
                </a:lnTo>
                <a:lnTo>
                  <a:pt x="2530229" y="1653161"/>
                </a:lnTo>
                <a:lnTo>
                  <a:pt x="2582941" y="1702365"/>
                </a:lnTo>
                <a:lnTo>
                  <a:pt x="2635808" y="1751690"/>
                </a:lnTo>
                <a:lnTo>
                  <a:pt x="2688694" y="1801027"/>
                </a:lnTo>
                <a:lnTo>
                  <a:pt x="2741467" y="1850262"/>
                </a:lnTo>
                <a:lnTo>
                  <a:pt x="2793992" y="1899284"/>
                </a:lnTo>
                <a:lnTo>
                  <a:pt x="2846135" y="1947980"/>
                </a:lnTo>
                <a:lnTo>
                  <a:pt x="2897761" y="1996240"/>
                </a:lnTo>
                <a:lnTo>
                  <a:pt x="2948738" y="2043950"/>
                </a:lnTo>
                <a:lnTo>
                  <a:pt x="2998931" y="2090998"/>
                </a:lnTo>
                <a:lnTo>
                  <a:pt x="3048207" y="2137274"/>
                </a:lnTo>
                <a:lnTo>
                  <a:pt x="3096430" y="2182664"/>
                </a:lnTo>
                <a:lnTo>
                  <a:pt x="3143467" y="2227057"/>
                </a:lnTo>
                <a:lnTo>
                  <a:pt x="3189184" y="2270342"/>
                </a:lnTo>
                <a:lnTo>
                  <a:pt x="3233447" y="2312405"/>
                </a:lnTo>
                <a:lnTo>
                  <a:pt x="3276123" y="2353135"/>
                </a:lnTo>
                <a:lnTo>
                  <a:pt x="3317076" y="2392419"/>
                </a:lnTo>
                <a:lnTo>
                  <a:pt x="3356173" y="2430147"/>
                </a:lnTo>
                <a:lnTo>
                  <a:pt x="3393281" y="2466206"/>
                </a:lnTo>
                <a:lnTo>
                  <a:pt x="3428264" y="2500485"/>
                </a:lnTo>
                <a:lnTo>
                  <a:pt x="3460990" y="2532870"/>
                </a:lnTo>
                <a:lnTo>
                  <a:pt x="3491323" y="2563250"/>
                </a:lnTo>
                <a:lnTo>
                  <a:pt x="3519131" y="2591513"/>
                </a:lnTo>
                <a:lnTo>
                  <a:pt x="3566631" y="2641242"/>
                </a:lnTo>
                <a:lnTo>
                  <a:pt x="3602420" y="2681159"/>
                </a:lnTo>
                <a:lnTo>
                  <a:pt x="3631798" y="2720680"/>
                </a:lnTo>
                <a:lnTo>
                  <a:pt x="3634573" y="2727977"/>
                </a:lnTo>
                <a:lnTo>
                  <a:pt x="3633616" y="2732151"/>
                </a:lnTo>
                <a:lnTo>
                  <a:pt x="3628943" y="2733106"/>
                </a:lnTo>
                <a:lnTo>
                  <a:pt x="3620633" y="2730974"/>
                </a:lnTo>
                <a:lnTo>
                  <a:pt x="3575168" y="2707156"/>
                </a:lnTo>
                <a:lnTo>
                  <a:pt x="3529034" y="2677858"/>
                </a:lnTo>
                <a:lnTo>
                  <a:pt x="3471443" y="2638851"/>
                </a:lnTo>
                <a:lnTo>
                  <a:pt x="3438674" y="2615981"/>
                </a:lnTo>
                <a:lnTo>
                  <a:pt x="3403428" y="2591014"/>
                </a:lnTo>
                <a:lnTo>
                  <a:pt x="3365833" y="2564060"/>
                </a:lnTo>
                <a:lnTo>
                  <a:pt x="3326018" y="2535227"/>
                </a:lnTo>
                <a:lnTo>
                  <a:pt x="3284112" y="2504628"/>
                </a:lnTo>
                <a:lnTo>
                  <a:pt x="3240244" y="2472370"/>
                </a:lnTo>
                <a:lnTo>
                  <a:pt x="3194543" y="2438566"/>
                </a:lnTo>
                <a:lnTo>
                  <a:pt x="3147137" y="2403323"/>
                </a:lnTo>
                <a:lnTo>
                  <a:pt x="3098156" y="2366753"/>
                </a:lnTo>
                <a:lnTo>
                  <a:pt x="3047729" y="2328965"/>
                </a:lnTo>
                <a:lnTo>
                  <a:pt x="2995983" y="2290069"/>
                </a:lnTo>
                <a:lnTo>
                  <a:pt x="2943049" y="2250176"/>
                </a:lnTo>
                <a:lnTo>
                  <a:pt x="2889055" y="2209394"/>
                </a:lnTo>
                <a:lnTo>
                  <a:pt x="2834129" y="2167835"/>
                </a:lnTo>
                <a:lnTo>
                  <a:pt x="2778401" y="2125608"/>
                </a:lnTo>
                <a:lnTo>
                  <a:pt x="2721999" y="2082823"/>
                </a:lnTo>
                <a:lnTo>
                  <a:pt x="2665053" y="2039589"/>
                </a:lnTo>
                <a:lnTo>
                  <a:pt x="2607691" y="1996018"/>
                </a:lnTo>
                <a:lnTo>
                  <a:pt x="2550043" y="1952219"/>
                </a:lnTo>
                <a:lnTo>
                  <a:pt x="2492236" y="1908301"/>
                </a:lnTo>
                <a:lnTo>
                  <a:pt x="2434399" y="1864376"/>
                </a:lnTo>
                <a:lnTo>
                  <a:pt x="2376663" y="1820552"/>
                </a:lnTo>
                <a:lnTo>
                  <a:pt x="2319155" y="1776940"/>
                </a:lnTo>
                <a:lnTo>
                  <a:pt x="2262004" y="1733650"/>
                </a:lnTo>
                <a:lnTo>
                  <a:pt x="2205340" y="1690791"/>
                </a:lnTo>
                <a:lnTo>
                  <a:pt x="2149290" y="1648474"/>
                </a:lnTo>
                <a:lnTo>
                  <a:pt x="2093985" y="1606809"/>
                </a:lnTo>
                <a:lnTo>
                  <a:pt x="2039552" y="1565905"/>
                </a:lnTo>
                <a:lnTo>
                  <a:pt x="1986121" y="1525873"/>
                </a:lnTo>
                <a:lnTo>
                  <a:pt x="1933820" y="1486823"/>
                </a:lnTo>
                <a:lnTo>
                  <a:pt x="1882779" y="1448863"/>
                </a:lnTo>
                <a:lnTo>
                  <a:pt x="1833126" y="1412106"/>
                </a:lnTo>
                <a:lnTo>
                  <a:pt x="1784990" y="1376659"/>
                </a:lnTo>
                <a:lnTo>
                  <a:pt x="1738500" y="1342634"/>
                </a:lnTo>
                <a:lnTo>
                  <a:pt x="1693785" y="1310140"/>
                </a:lnTo>
                <a:lnTo>
                  <a:pt x="1650973" y="1279288"/>
                </a:lnTo>
                <a:lnTo>
                  <a:pt x="1610194" y="1250187"/>
                </a:lnTo>
                <a:lnTo>
                  <a:pt x="1571576" y="1222947"/>
                </a:lnTo>
                <a:lnTo>
                  <a:pt x="1535248" y="1197678"/>
                </a:lnTo>
                <a:lnTo>
                  <a:pt x="1501339" y="1174490"/>
                </a:lnTo>
                <a:lnTo>
                  <a:pt x="1441295" y="1134798"/>
                </a:lnTo>
                <a:lnTo>
                  <a:pt x="1392473" y="1104750"/>
                </a:lnTo>
                <a:lnTo>
                  <a:pt x="1355904" y="1085225"/>
                </a:lnTo>
                <a:lnTo>
                  <a:pt x="1332619" y="1077104"/>
                </a:lnTo>
                <a:lnTo>
                  <a:pt x="1326280" y="1077594"/>
                </a:lnTo>
                <a:lnTo>
                  <a:pt x="1323529" y="1081427"/>
                </a:lnTo>
                <a:lnTo>
                  <a:pt x="1324516" y="1088555"/>
                </a:lnTo>
                <a:lnTo>
                  <a:pt x="1348534" y="1128492"/>
                </a:lnTo>
                <a:lnTo>
                  <a:pt x="1380716" y="1169352"/>
                </a:lnTo>
                <a:lnTo>
                  <a:pt x="1424547" y="1220455"/>
                </a:lnTo>
                <a:lnTo>
                  <a:pt x="1450487" y="1249542"/>
                </a:lnTo>
                <a:lnTo>
                  <a:pt x="1478926" y="1280823"/>
                </a:lnTo>
                <a:lnTo>
                  <a:pt x="1509726" y="1314174"/>
                </a:lnTo>
                <a:lnTo>
                  <a:pt x="1542750" y="1349474"/>
                </a:lnTo>
                <a:lnTo>
                  <a:pt x="1577859" y="1386599"/>
                </a:lnTo>
                <a:lnTo>
                  <a:pt x="1614917" y="1425428"/>
                </a:lnTo>
                <a:lnTo>
                  <a:pt x="1653785" y="1465838"/>
                </a:lnTo>
                <a:lnTo>
                  <a:pt x="1694325" y="1507705"/>
                </a:lnTo>
                <a:lnTo>
                  <a:pt x="1736400" y="1550908"/>
                </a:lnTo>
                <a:lnTo>
                  <a:pt x="1779872" y="1595325"/>
                </a:lnTo>
                <a:lnTo>
                  <a:pt x="1824603" y="1640832"/>
                </a:lnTo>
                <a:lnTo>
                  <a:pt x="1870455" y="1687307"/>
                </a:lnTo>
                <a:lnTo>
                  <a:pt x="1917292" y="1734627"/>
                </a:lnTo>
                <a:lnTo>
                  <a:pt x="1964973" y="1782671"/>
                </a:lnTo>
                <a:lnTo>
                  <a:pt x="2013363" y="1831315"/>
                </a:lnTo>
                <a:lnTo>
                  <a:pt x="2062324" y="1880436"/>
                </a:lnTo>
                <a:lnTo>
                  <a:pt x="2111716" y="1929914"/>
                </a:lnTo>
                <a:lnTo>
                  <a:pt x="2161404" y="1979623"/>
                </a:lnTo>
                <a:lnTo>
                  <a:pt x="2211248" y="2029444"/>
                </a:lnTo>
                <a:lnTo>
                  <a:pt x="2261112" y="2079252"/>
                </a:lnTo>
                <a:lnTo>
                  <a:pt x="2310857" y="2128925"/>
                </a:lnTo>
                <a:lnTo>
                  <a:pt x="2360345" y="2178340"/>
                </a:lnTo>
                <a:lnTo>
                  <a:pt x="2409440" y="2227376"/>
                </a:lnTo>
                <a:lnTo>
                  <a:pt x="2458003" y="2275910"/>
                </a:lnTo>
                <a:lnTo>
                  <a:pt x="2505896" y="2323818"/>
                </a:lnTo>
                <a:lnTo>
                  <a:pt x="2552981" y="2370979"/>
                </a:lnTo>
                <a:lnTo>
                  <a:pt x="2599122" y="2417270"/>
                </a:lnTo>
                <a:lnTo>
                  <a:pt x="2644179" y="2462568"/>
                </a:lnTo>
                <a:lnTo>
                  <a:pt x="2688016" y="2506752"/>
                </a:lnTo>
                <a:lnTo>
                  <a:pt x="2730494" y="2549697"/>
                </a:lnTo>
                <a:lnTo>
                  <a:pt x="2771476" y="2591283"/>
                </a:lnTo>
                <a:lnTo>
                  <a:pt x="2810823" y="2631385"/>
                </a:lnTo>
                <a:lnTo>
                  <a:pt x="2848399" y="2669883"/>
                </a:lnTo>
                <a:lnTo>
                  <a:pt x="2884065" y="2706652"/>
                </a:lnTo>
                <a:lnTo>
                  <a:pt x="2917684" y="2741572"/>
                </a:lnTo>
                <a:lnTo>
                  <a:pt x="2949118" y="2774518"/>
                </a:lnTo>
                <a:lnTo>
                  <a:pt x="2978229" y="2805369"/>
                </a:lnTo>
                <a:lnTo>
                  <a:pt x="3004879" y="2834002"/>
                </a:lnTo>
                <a:lnTo>
                  <a:pt x="3050246" y="2884124"/>
                </a:lnTo>
                <a:lnTo>
                  <a:pt x="3084117" y="2923904"/>
                </a:lnTo>
                <a:lnTo>
                  <a:pt x="3110957" y="2962037"/>
                </a:lnTo>
                <a:lnTo>
                  <a:pt x="3112961" y="2968515"/>
                </a:lnTo>
                <a:lnTo>
                  <a:pt x="3111265" y="2971673"/>
                </a:lnTo>
                <a:lnTo>
                  <a:pt x="3068483" y="2951414"/>
                </a:lnTo>
                <a:lnTo>
                  <a:pt x="3027382" y="2923180"/>
                </a:lnTo>
                <a:lnTo>
                  <a:pt x="2974545" y="2884171"/>
                </a:lnTo>
                <a:lnTo>
                  <a:pt x="2944055" y="2860929"/>
                </a:lnTo>
                <a:lnTo>
                  <a:pt x="2911025" y="2835358"/>
                </a:lnTo>
                <a:lnTo>
                  <a:pt x="2875589" y="2807579"/>
                </a:lnTo>
                <a:lnTo>
                  <a:pt x="2837876" y="2777713"/>
                </a:lnTo>
                <a:lnTo>
                  <a:pt x="2798019" y="2745882"/>
                </a:lnTo>
                <a:lnTo>
                  <a:pt x="2756150" y="2712208"/>
                </a:lnTo>
                <a:lnTo>
                  <a:pt x="2712399" y="2676810"/>
                </a:lnTo>
                <a:lnTo>
                  <a:pt x="2666899" y="2639812"/>
                </a:lnTo>
                <a:lnTo>
                  <a:pt x="2619782" y="2601335"/>
                </a:lnTo>
                <a:lnTo>
                  <a:pt x="2571178" y="2561499"/>
                </a:lnTo>
                <a:lnTo>
                  <a:pt x="2521221" y="2520426"/>
                </a:lnTo>
                <a:lnTo>
                  <a:pt x="2470040" y="2478238"/>
                </a:lnTo>
                <a:lnTo>
                  <a:pt x="2417768" y="2435056"/>
                </a:lnTo>
                <a:lnTo>
                  <a:pt x="2364537" y="2391002"/>
                </a:lnTo>
                <a:lnTo>
                  <a:pt x="2310477" y="2346197"/>
                </a:lnTo>
                <a:lnTo>
                  <a:pt x="2255722" y="2300761"/>
                </a:lnTo>
                <a:lnTo>
                  <a:pt x="2200401" y="2254818"/>
                </a:lnTo>
                <a:lnTo>
                  <a:pt x="2144648" y="2208488"/>
                </a:lnTo>
                <a:lnTo>
                  <a:pt x="2088593" y="2161892"/>
                </a:lnTo>
                <a:lnTo>
                  <a:pt x="2032369" y="2115153"/>
                </a:lnTo>
                <a:lnTo>
                  <a:pt x="1976106" y="2068391"/>
                </a:lnTo>
                <a:lnTo>
                  <a:pt x="1919937" y="2021727"/>
                </a:lnTo>
                <a:lnTo>
                  <a:pt x="1863993" y="1975284"/>
                </a:lnTo>
                <a:lnTo>
                  <a:pt x="1808405" y="1929182"/>
                </a:lnTo>
                <a:lnTo>
                  <a:pt x="1753306" y="1883544"/>
                </a:lnTo>
                <a:lnTo>
                  <a:pt x="1698827" y="1838490"/>
                </a:lnTo>
                <a:lnTo>
                  <a:pt x="1645100" y="1794142"/>
                </a:lnTo>
                <a:lnTo>
                  <a:pt x="1592256" y="1750621"/>
                </a:lnTo>
                <a:lnTo>
                  <a:pt x="1540427" y="1708049"/>
                </a:lnTo>
                <a:lnTo>
                  <a:pt x="1489744" y="1666547"/>
                </a:lnTo>
                <a:lnTo>
                  <a:pt x="1440339" y="1626237"/>
                </a:lnTo>
                <a:lnTo>
                  <a:pt x="1392344" y="1587239"/>
                </a:lnTo>
                <a:lnTo>
                  <a:pt x="1345891" y="1549676"/>
                </a:lnTo>
                <a:lnTo>
                  <a:pt x="1301111" y="1513669"/>
                </a:lnTo>
                <a:lnTo>
                  <a:pt x="1258135" y="1479339"/>
                </a:lnTo>
                <a:lnTo>
                  <a:pt x="1217095" y="1446807"/>
                </a:lnTo>
                <a:lnTo>
                  <a:pt x="1178124" y="1416196"/>
                </a:lnTo>
                <a:lnTo>
                  <a:pt x="1141352" y="1387626"/>
                </a:lnTo>
                <a:lnTo>
                  <a:pt x="1106911" y="1361219"/>
                </a:lnTo>
                <a:lnTo>
                  <a:pt x="1074933" y="1337096"/>
                </a:lnTo>
                <a:lnTo>
                  <a:pt x="1018891" y="1296189"/>
                </a:lnTo>
                <a:lnTo>
                  <a:pt x="974280" y="1265875"/>
                </a:lnTo>
                <a:lnTo>
                  <a:pt x="931101" y="1242394"/>
                </a:lnTo>
                <a:lnTo>
                  <a:pt x="923563" y="1240916"/>
                </a:lnTo>
                <a:lnTo>
                  <a:pt x="919321" y="1243056"/>
                </a:lnTo>
                <a:lnTo>
                  <a:pt x="919081" y="1248942"/>
                </a:lnTo>
                <a:lnTo>
                  <a:pt x="922684" y="1258422"/>
                </a:lnTo>
                <a:lnTo>
                  <a:pt x="954945" y="1306932"/>
                </a:lnTo>
                <a:lnTo>
                  <a:pt x="992722" y="1354491"/>
                </a:lnTo>
                <a:lnTo>
                  <a:pt x="1042019" y="1412821"/>
                </a:lnTo>
                <a:lnTo>
                  <a:pt x="1070585" y="1445649"/>
                </a:lnTo>
                <a:lnTo>
                  <a:pt x="1101550" y="1480719"/>
                </a:lnTo>
                <a:lnTo>
                  <a:pt x="1134753" y="1517880"/>
                </a:lnTo>
                <a:lnTo>
                  <a:pt x="1170033" y="1556982"/>
                </a:lnTo>
                <a:lnTo>
                  <a:pt x="1207230" y="1597875"/>
                </a:lnTo>
                <a:lnTo>
                  <a:pt x="1246183" y="1640407"/>
                </a:lnTo>
                <a:lnTo>
                  <a:pt x="1286732" y="1684429"/>
                </a:lnTo>
                <a:lnTo>
                  <a:pt x="1328716" y="1729790"/>
                </a:lnTo>
                <a:lnTo>
                  <a:pt x="1371975" y="1776339"/>
                </a:lnTo>
                <a:lnTo>
                  <a:pt x="1416348" y="1823927"/>
                </a:lnTo>
                <a:lnTo>
                  <a:pt x="1461675" y="1872403"/>
                </a:lnTo>
                <a:lnTo>
                  <a:pt x="1507796" y="1921617"/>
                </a:lnTo>
                <a:lnTo>
                  <a:pt x="1554550" y="1971417"/>
                </a:lnTo>
                <a:lnTo>
                  <a:pt x="1601776" y="2021654"/>
                </a:lnTo>
                <a:lnTo>
                  <a:pt x="1649313" y="2072178"/>
                </a:lnTo>
                <a:lnTo>
                  <a:pt x="1697003" y="2122837"/>
                </a:lnTo>
                <a:lnTo>
                  <a:pt x="1744683" y="2173482"/>
                </a:lnTo>
                <a:lnTo>
                  <a:pt x="1792194" y="2223961"/>
                </a:lnTo>
                <a:lnTo>
                  <a:pt x="1839374" y="2274126"/>
                </a:lnTo>
                <a:lnTo>
                  <a:pt x="1886064" y="2323824"/>
                </a:lnTo>
                <a:lnTo>
                  <a:pt x="1932104" y="2372907"/>
                </a:lnTo>
                <a:lnTo>
                  <a:pt x="1977331" y="2421222"/>
                </a:lnTo>
                <a:lnTo>
                  <a:pt x="2021587" y="2468621"/>
                </a:lnTo>
                <a:lnTo>
                  <a:pt x="2064710" y="2514952"/>
                </a:lnTo>
                <a:lnTo>
                  <a:pt x="2106540" y="2560066"/>
                </a:lnTo>
                <a:lnTo>
                  <a:pt x="2146917" y="2603811"/>
                </a:lnTo>
                <a:lnTo>
                  <a:pt x="2185680" y="2646037"/>
                </a:lnTo>
                <a:lnTo>
                  <a:pt x="2222669" y="2686595"/>
                </a:lnTo>
                <a:lnTo>
                  <a:pt x="2257722" y="2725333"/>
                </a:lnTo>
                <a:lnTo>
                  <a:pt x="2290680" y="2762100"/>
                </a:lnTo>
                <a:lnTo>
                  <a:pt x="2321383" y="2796748"/>
                </a:lnTo>
                <a:lnTo>
                  <a:pt x="2349669" y="2829125"/>
                </a:lnTo>
                <a:lnTo>
                  <a:pt x="2375378" y="2859081"/>
                </a:lnTo>
                <a:lnTo>
                  <a:pt x="2418424" y="2911127"/>
                </a:lnTo>
                <a:lnTo>
                  <a:pt x="2449236" y="2951684"/>
                </a:lnTo>
                <a:lnTo>
                  <a:pt x="2469709" y="2988345"/>
                </a:lnTo>
                <a:lnTo>
                  <a:pt x="2469026" y="2993516"/>
                </a:lnTo>
                <a:lnTo>
                  <a:pt x="2463961" y="2995052"/>
                </a:lnTo>
                <a:lnTo>
                  <a:pt x="2454674" y="2992607"/>
                </a:lnTo>
                <a:lnTo>
                  <a:pt x="2403331" y="2963129"/>
                </a:lnTo>
                <a:lnTo>
                  <a:pt x="2351371" y="2926760"/>
                </a:lnTo>
                <a:lnTo>
                  <a:pt x="2320624" y="2904081"/>
                </a:lnTo>
                <a:lnTo>
                  <a:pt x="2286943" y="2878637"/>
                </a:lnTo>
                <a:lnTo>
                  <a:pt x="2250515" y="2850602"/>
                </a:lnTo>
                <a:lnTo>
                  <a:pt x="2211521" y="2820150"/>
                </a:lnTo>
                <a:lnTo>
                  <a:pt x="2170146" y="2787454"/>
                </a:lnTo>
                <a:lnTo>
                  <a:pt x="2126574" y="2752688"/>
                </a:lnTo>
                <a:lnTo>
                  <a:pt x="2080989" y="2716025"/>
                </a:lnTo>
                <a:lnTo>
                  <a:pt x="2033575" y="2677639"/>
                </a:lnTo>
                <a:lnTo>
                  <a:pt x="1984516" y="2637703"/>
                </a:lnTo>
                <a:lnTo>
                  <a:pt x="1933996" y="2596391"/>
                </a:lnTo>
                <a:lnTo>
                  <a:pt x="1882199" y="2553878"/>
                </a:lnTo>
                <a:lnTo>
                  <a:pt x="1829309" y="2510335"/>
                </a:lnTo>
                <a:lnTo>
                  <a:pt x="1775510" y="2465938"/>
                </a:lnTo>
                <a:lnTo>
                  <a:pt x="1720986" y="2420859"/>
                </a:lnTo>
                <a:lnTo>
                  <a:pt x="1665920" y="2375272"/>
                </a:lnTo>
                <a:lnTo>
                  <a:pt x="1610497" y="2329351"/>
                </a:lnTo>
                <a:lnTo>
                  <a:pt x="1554901" y="2283269"/>
                </a:lnTo>
                <a:lnTo>
                  <a:pt x="1499316" y="2237201"/>
                </a:lnTo>
                <a:lnTo>
                  <a:pt x="1443925" y="2191319"/>
                </a:lnTo>
                <a:lnTo>
                  <a:pt x="1388913" y="2145797"/>
                </a:lnTo>
                <a:lnTo>
                  <a:pt x="1334464" y="2100809"/>
                </a:lnTo>
                <a:lnTo>
                  <a:pt x="1280762" y="2056528"/>
                </a:lnTo>
                <a:lnTo>
                  <a:pt x="1227990" y="2013129"/>
                </a:lnTo>
                <a:lnTo>
                  <a:pt x="1176333" y="1970784"/>
                </a:lnTo>
                <a:lnTo>
                  <a:pt x="1125974" y="1929667"/>
                </a:lnTo>
                <a:lnTo>
                  <a:pt x="1077098" y="1889952"/>
                </a:lnTo>
                <a:lnTo>
                  <a:pt x="1029888" y="1851813"/>
                </a:lnTo>
                <a:lnTo>
                  <a:pt x="984529" y="1815422"/>
                </a:lnTo>
                <a:lnTo>
                  <a:pt x="941205" y="1780954"/>
                </a:lnTo>
                <a:lnTo>
                  <a:pt x="900099" y="1748583"/>
                </a:lnTo>
                <a:lnTo>
                  <a:pt x="861395" y="1718481"/>
                </a:lnTo>
                <a:lnTo>
                  <a:pt x="825278" y="1690823"/>
                </a:lnTo>
                <a:lnTo>
                  <a:pt x="791931" y="1665782"/>
                </a:lnTo>
                <a:lnTo>
                  <a:pt x="734285" y="1624245"/>
                </a:lnTo>
                <a:lnTo>
                  <a:pt x="689928" y="1595261"/>
                </a:lnTo>
                <a:lnTo>
                  <a:pt x="651529" y="1578356"/>
                </a:lnTo>
                <a:lnTo>
                  <a:pt x="646381" y="1580879"/>
                </a:lnTo>
                <a:lnTo>
                  <a:pt x="646176" y="1588033"/>
                </a:lnTo>
                <a:lnTo>
                  <a:pt x="650666" y="1599587"/>
                </a:lnTo>
                <a:lnTo>
                  <a:pt x="672732" y="1634962"/>
                </a:lnTo>
                <a:lnTo>
                  <a:pt x="710587" y="1685148"/>
                </a:lnTo>
                <a:lnTo>
                  <a:pt x="734811" y="1715214"/>
                </a:lnTo>
                <a:lnTo>
                  <a:pt x="762236" y="1748286"/>
                </a:lnTo>
                <a:lnTo>
                  <a:pt x="792610" y="1784132"/>
                </a:lnTo>
                <a:lnTo>
                  <a:pt x="825685" y="1822519"/>
                </a:lnTo>
                <a:lnTo>
                  <a:pt x="861212" y="1863216"/>
                </a:lnTo>
                <a:lnTo>
                  <a:pt x="898942" y="1905990"/>
                </a:lnTo>
                <a:lnTo>
                  <a:pt x="938625" y="1950609"/>
                </a:lnTo>
                <a:lnTo>
                  <a:pt x="980012" y="1996841"/>
                </a:lnTo>
                <a:lnTo>
                  <a:pt x="1022854" y="2044453"/>
                </a:lnTo>
                <a:lnTo>
                  <a:pt x="1066902" y="2093214"/>
                </a:lnTo>
                <a:lnTo>
                  <a:pt x="1111906" y="2142891"/>
                </a:lnTo>
                <a:lnTo>
                  <a:pt x="1157618" y="2193252"/>
                </a:lnTo>
                <a:lnTo>
                  <a:pt x="1203788" y="2244065"/>
                </a:lnTo>
                <a:lnTo>
                  <a:pt x="1250166" y="2295098"/>
                </a:lnTo>
                <a:lnTo>
                  <a:pt x="1296505" y="2346118"/>
                </a:lnTo>
                <a:lnTo>
                  <a:pt x="1342554" y="2396894"/>
                </a:lnTo>
                <a:lnTo>
                  <a:pt x="1388064" y="2447192"/>
                </a:lnTo>
                <a:lnTo>
                  <a:pt x="1432786" y="2496782"/>
                </a:lnTo>
                <a:lnTo>
                  <a:pt x="1476471" y="2545430"/>
                </a:lnTo>
                <a:lnTo>
                  <a:pt x="1518870" y="2592905"/>
                </a:lnTo>
                <a:lnTo>
                  <a:pt x="1559733" y="2638974"/>
                </a:lnTo>
                <a:lnTo>
                  <a:pt x="1598812" y="2683405"/>
                </a:lnTo>
                <a:lnTo>
                  <a:pt x="1635857" y="2725967"/>
                </a:lnTo>
                <a:lnTo>
                  <a:pt x="1670618" y="2766426"/>
                </a:lnTo>
                <a:lnTo>
                  <a:pt x="1702848" y="2804550"/>
                </a:lnTo>
                <a:lnTo>
                  <a:pt x="1732295" y="2840108"/>
                </a:lnTo>
                <a:lnTo>
                  <a:pt x="1758712" y="2872867"/>
                </a:lnTo>
                <a:lnTo>
                  <a:pt x="1801457" y="2929061"/>
                </a:lnTo>
                <a:lnTo>
                  <a:pt x="1829088" y="2971272"/>
                </a:lnTo>
                <a:lnTo>
                  <a:pt x="1839612" y="2997645"/>
                </a:lnTo>
                <a:lnTo>
                  <a:pt x="1837836" y="3004312"/>
                </a:lnTo>
                <a:lnTo>
                  <a:pt x="1830856" y="3006558"/>
                </a:lnTo>
                <a:lnTo>
                  <a:pt x="1819015" y="3004239"/>
                </a:lnTo>
                <a:lnTo>
                  <a:pt x="1781776" y="2986878"/>
                </a:lnTo>
                <a:lnTo>
                  <a:pt x="1728166" y="2954180"/>
                </a:lnTo>
                <a:lnTo>
                  <a:pt x="1695861" y="2932689"/>
                </a:lnTo>
                <a:lnTo>
                  <a:pt x="1660232" y="2908095"/>
                </a:lnTo>
                <a:lnTo>
                  <a:pt x="1621534" y="2880643"/>
                </a:lnTo>
                <a:lnTo>
                  <a:pt x="1580023" y="2850577"/>
                </a:lnTo>
                <a:lnTo>
                  <a:pt x="1535955" y="2818139"/>
                </a:lnTo>
                <a:lnTo>
                  <a:pt x="1489587" y="2783575"/>
                </a:lnTo>
                <a:lnTo>
                  <a:pt x="1441173" y="2747127"/>
                </a:lnTo>
                <a:lnTo>
                  <a:pt x="1390970" y="2709041"/>
                </a:lnTo>
                <a:lnTo>
                  <a:pt x="1339234" y="2669559"/>
                </a:lnTo>
                <a:lnTo>
                  <a:pt x="1286222" y="2628926"/>
                </a:lnTo>
                <a:lnTo>
                  <a:pt x="1232188" y="2587386"/>
                </a:lnTo>
                <a:lnTo>
                  <a:pt x="1177388" y="2545182"/>
                </a:lnTo>
                <a:lnTo>
                  <a:pt x="1122080" y="2502559"/>
                </a:lnTo>
                <a:lnTo>
                  <a:pt x="1066518" y="2459761"/>
                </a:lnTo>
                <a:lnTo>
                  <a:pt x="1010960" y="2417030"/>
                </a:lnTo>
                <a:lnTo>
                  <a:pt x="955659" y="2374613"/>
                </a:lnTo>
                <a:lnTo>
                  <a:pt x="900874" y="2332751"/>
                </a:lnTo>
                <a:lnTo>
                  <a:pt x="846859" y="2291689"/>
                </a:lnTo>
                <a:lnTo>
                  <a:pt x="793871" y="2251671"/>
                </a:lnTo>
                <a:lnTo>
                  <a:pt x="742165" y="2212942"/>
                </a:lnTo>
                <a:lnTo>
                  <a:pt x="691998" y="2175744"/>
                </a:lnTo>
                <a:lnTo>
                  <a:pt x="643625" y="2140322"/>
                </a:lnTo>
                <a:lnTo>
                  <a:pt x="597303" y="2106919"/>
                </a:lnTo>
                <a:lnTo>
                  <a:pt x="553287" y="2075780"/>
                </a:lnTo>
                <a:lnTo>
                  <a:pt x="511834" y="2047149"/>
                </a:lnTo>
                <a:lnTo>
                  <a:pt x="473199" y="2021269"/>
                </a:lnTo>
                <a:lnTo>
                  <a:pt x="437638" y="1998384"/>
                </a:lnTo>
                <a:lnTo>
                  <a:pt x="376763" y="1962577"/>
                </a:lnTo>
                <a:lnTo>
                  <a:pt x="331258" y="1941678"/>
                </a:lnTo>
                <a:lnTo>
                  <a:pt x="314908" y="1937429"/>
                </a:lnTo>
                <a:lnTo>
                  <a:pt x="303168" y="1937639"/>
                </a:lnTo>
                <a:lnTo>
                  <a:pt x="295184" y="1943404"/>
                </a:lnTo>
                <a:lnTo>
                  <a:pt x="292468" y="1954713"/>
                </a:lnTo>
                <a:lnTo>
                  <a:pt x="294707" y="1971225"/>
                </a:lnTo>
                <a:lnTo>
                  <a:pt x="312796" y="2018488"/>
                </a:lnTo>
                <a:lnTo>
                  <a:pt x="346936" y="2082463"/>
                </a:lnTo>
                <a:lnTo>
                  <a:pt x="369241" y="2119863"/>
                </a:lnTo>
                <a:lnTo>
                  <a:pt x="394617" y="2160417"/>
                </a:lnTo>
                <a:lnTo>
                  <a:pt x="422750" y="2203782"/>
                </a:lnTo>
                <a:lnTo>
                  <a:pt x="453326" y="2249618"/>
                </a:lnTo>
                <a:lnTo>
                  <a:pt x="486031" y="2297583"/>
                </a:lnTo>
                <a:lnTo>
                  <a:pt x="520551" y="2347335"/>
                </a:lnTo>
                <a:lnTo>
                  <a:pt x="556572" y="2398533"/>
                </a:lnTo>
                <a:lnTo>
                  <a:pt x="593780" y="2450836"/>
                </a:lnTo>
                <a:lnTo>
                  <a:pt x="631860" y="2503902"/>
                </a:lnTo>
                <a:lnTo>
                  <a:pt x="670500" y="2557389"/>
                </a:lnTo>
                <a:lnTo>
                  <a:pt x="709384" y="2610956"/>
                </a:lnTo>
                <a:lnTo>
                  <a:pt x="748200" y="2664262"/>
                </a:lnTo>
                <a:lnTo>
                  <a:pt x="786632" y="2716966"/>
                </a:lnTo>
                <a:lnTo>
                  <a:pt x="824367" y="2768724"/>
                </a:lnTo>
                <a:lnTo>
                  <a:pt x="861091" y="2819198"/>
                </a:lnTo>
                <a:lnTo>
                  <a:pt x="896489" y="2868043"/>
                </a:lnTo>
                <a:lnTo>
                  <a:pt x="930249" y="2914920"/>
                </a:lnTo>
                <a:lnTo>
                  <a:pt x="962055" y="2959487"/>
                </a:lnTo>
                <a:lnTo>
                  <a:pt x="991594" y="3001402"/>
                </a:lnTo>
                <a:lnTo>
                  <a:pt x="1018552" y="3040324"/>
                </a:lnTo>
                <a:lnTo>
                  <a:pt x="1042614" y="3075911"/>
                </a:lnTo>
                <a:lnTo>
                  <a:pt x="1063467" y="3107823"/>
                </a:lnTo>
                <a:lnTo>
                  <a:pt x="1094289" y="3159251"/>
                </a:lnTo>
                <a:lnTo>
                  <a:pt x="1108602" y="3200285"/>
                </a:lnTo>
                <a:lnTo>
                  <a:pt x="1102685" y="3203439"/>
                </a:lnTo>
                <a:lnTo>
                  <a:pt x="1052194" y="3173154"/>
                </a:lnTo>
                <a:lnTo>
                  <a:pt x="995417" y="3124917"/>
                </a:lnTo>
                <a:lnTo>
                  <a:pt x="961344" y="3093905"/>
                </a:lnTo>
                <a:lnTo>
                  <a:pt x="924035" y="3058974"/>
                </a:lnTo>
                <a:lnTo>
                  <a:pt x="883909" y="3020632"/>
                </a:lnTo>
                <a:lnTo>
                  <a:pt x="841380" y="2979385"/>
                </a:lnTo>
                <a:lnTo>
                  <a:pt x="796866" y="2935741"/>
                </a:lnTo>
                <a:lnTo>
                  <a:pt x="750783" y="2890207"/>
                </a:lnTo>
                <a:lnTo>
                  <a:pt x="703548" y="2843290"/>
                </a:lnTo>
                <a:lnTo>
                  <a:pt x="655577" y="2795498"/>
                </a:lnTo>
                <a:lnTo>
                  <a:pt x="607287" y="2747337"/>
                </a:lnTo>
                <a:lnTo>
                  <a:pt x="559094" y="2699315"/>
                </a:lnTo>
                <a:lnTo>
                  <a:pt x="511415" y="2651940"/>
                </a:lnTo>
                <a:lnTo>
                  <a:pt x="464666" y="2605717"/>
                </a:lnTo>
                <a:lnTo>
                  <a:pt x="419264" y="2561155"/>
                </a:lnTo>
                <a:lnTo>
                  <a:pt x="375625" y="2518761"/>
                </a:lnTo>
                <a:lnTo>
                  <a:pt x="334166" y="2479041"/>
                </a:lnTo>
                <a:lnTo>
                  <a:pt x="295303" y="2442504"/>
                </a:lnTo>
                <a:lnTo>
                  <a:pt x="259453" y="2409657"/>
                </a:lnTo>
                <a:lnTo>
                  <a:pt x="227033" y="2381005"/>
                </a:lnTo>
                <a:lnTo>
                  <a:pt x="174145" y="2338322"/>
                </a:lnTo>
                <a:lnTo>
                  <a:pt x="139973" y="2318512"/>
                </a:lnTo>
                <a:lnTo>
                  <a:pt x="126880" y="2318885"/>
                </a:lnTo>
                <a:lnTo>
                  <a:pt x="121986" y="2329568"/>
                </a:lnTo>
                <a:lnTo>
                  <a:pt x="124418" y="2349442"/>
                </a:lnTo>
                <a:lnTo>
                  <a:pt x="147750" y="2412283"/>
                </a:lnTo>
                <a:lnTo>
                  <a:pt x="166899" y="2453014"/>
                </a:lnTo>
                <a:lnTo>
                  <a:pt x="189868" y="2498460"/>
                </a:lnTo>
                <a:lnTo>
                  <a:pt x="215782" y="2547502"/>
                </a:lnTo>
                <a:lnTo>
                  <a:pt x="243765" y="2599021"/>
                </a:lnTo>
                <a:lnTo>
                  <a:pt x="272940" y="2651898"/>
                </a:lnTo>
                <a:lnTo>
                  <a:pt x="302432" y="2705015"/>
                </a:lnTo>
                <a:lnTo>
                  <a:pt x="331364" y="2757252"/>
                </a:lnTo>
                <a:lnTo>
                  <a:pt x="358861" y="2807492"/>
                </a:lnTo>
                <a:lnTo>
                  <a:pt x="384047" y="2854614"/>
                </a:lnTo>
                <a:lnTo>
                  <a:pt x="406045" y="2897500"/>
                </a:lnTo>
                <a:lnTo>
                  <a:pt x="423981" y="2935032"/>
                </a:lnTo>
                <a:lnTo>
                  <a:pt x="444157" y="2989557"/>
                </a:lnTo>
                <a:lnTo>
                  <a:pt x="444646" y="3004312"/>
                </a:lnTo>
                <a:lnTo>
                  <a:pt x="433181" y="3011586"/>
                </a:lnTo>
                <a:lnTo>
                  <a:pt x="377828" y="2982976"/>
                </a:lnTo>
                <a:lnTo>
                  <a:pt x="338249" y="2952721"/>
                </a:lnTo>
                <a:lnTo>
                  <a:pt x="293605" y="2915588"/>
                </a:lnTo>
                <a:lnTo>
                  <a:pt x="246050" y="2874391"/>
                </a:lnTo>
                <a:lnTo>
                  <a:pt x="197739" y="2831944"/>
                </a:lnTo>
                <a:lnTo>
                  <a:pt x="150825" y="2791064"/>
                </a:lnTo>
                <a:lnTo>
                  <a:pt x="107461" y="2754566"/>
                </a:lnTo>
                <a:lnTo>
                  <a:pt x="69802" y="2725264"/>
                </a:lnTo>
                <a:lnTo>
                  <a:pt x="40001" y="2705974"/>
                </a:lnTo>
                <a:lnTo>
                  <a:pt x="20212" y="2699512"/>
                </a:lnTo>
                <a:lnTo>
                  <a:pt x="4860" y="2707979"/>
                </a:lnTo>
                <a:lnTo>
                  <a:pt x="0" y="2729386"/>
                </a:lnTo>
                <a:lnTo>
                  <a:pt x="4134" y="2761888"/>
                </a:lnTo>
                <a:lnTo>
                  <a:pt x="15767" y="2803636"/>
                </a:lnTo>
                <a:lnTo>
                  <a:pt x="33401" y="2852783"/>
                </a:lnTo>
                <a:lnTo>
                  <a:pt x="55538" y="2907484"/>
                </a:lnTo>
                <a:lnTo>
                  <a:pt x="80682" y="2965890"/>
                </a:lnTo>
                <a:lnTo>
                  <a:pt x="107334" y="3026155"/>
                </a:lnTo>
              </a:path>
            </a:pathLst>
          </a:custGeom>
          <a:ln w="38100">
            <a:solidFill>
              <a:srgbClr val="FF0000"/>
            </a:solidFill>
          </a:ln>
        </p:spPr>
        <p:txBody>
          <a:bodyPr wrap="square" lIns="0" tIns="0" rIns="0" bIns="0" rtlCol="0"/>
          <a:lstStyle/>
          <a:p>
            <a:pPr defTabSz="896112"/>
            <a:endParaRPr sz="1764">
              <a:solidFill>
                <a:srgbClr val="005CB9"/>
              </a:solidFill>
              <a:latin typeface="Arial"/>
            </a:endParaRPr>
          </a:p>
        </p:txBody>
      </p:sp>
      <p:sp>
        <p:nvSpPr>
          <p:cNvPr id="21" name="TextBox 20"/>
          <p:cNvSpPr txBox="1"/>
          <p:nvPr/>
        </p:nvSpPr>
        <p:spPr>
          <a:xfrm>
            <a:off x="875001" y="1123448"/>
            <a:ext cx="6551924" cy="4795952"/>
          </a:xfrm>
          <a:prstGeom prst="rect">
            <a:avLst/>
          </a:prstGeom>
          <a:noFill/>
        </p:spPr>
        <p:txBody>
          <a:bodyPr wrap="square" rtlCol="0">
            <a:spAutoFit/>
          </a:bodyPr>
          <a:lstStyle/>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Area under the Receiver Operating Characteristic ROC curve (AUC) is a measure of the model performance</a:t>
            </a:r>
          </a:p>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It is a plot of the True Positive Rate (on the y-axis) versus the False Positive Rate (on the x-axis) for every possible classification threshold</a:t>
            </a:r>
          </a:p>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Random Model AUC = 0.5</a:t>
            </a:r>
          </a:p>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Non-bike-buyer Model 1.0 &gt;= AUC  &gt;= 0.5</a:t>
            </a:r>
          </a:p>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Perfect Model AUC ~ 1.0 </a:t>
            </a:r>
          </a:p>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The larger the AUC, the better the model ROC</a:t>
            </a:r>
          </a:p>
          <a:p>
            <a:pPr marL="351600" indent="-336042" defTabSz="896112">
              <a:spcBef>
                <a:spcPts val="5"/>
              </a:spcBef>
              <a:buClr>
                <a:srgbClr val="FF5800"/>
              </a:buClr>
              <a:buFont typeface="Wingdings" panose="05000000000000000000" pitchFamily="2" charset="2"/>
              <a:buChar char="§"/>
            </a:pPr>
            <a:r>
              <a:rPr lang="en-US" sz="2352" dirty="0">
                <a:solidFill>
                  <a:srgbClr val="646464"/>
                </a:solidFill>
                <a:latin typeface="Segoe UI Light" panose="020B0502040204020203" pitchFamily="34" charset="0"/>
                <a:cs typeface="Segoe UI Light" panose="020B0502040204020203" pitchFamily="34" charset="0"/>
              </a:rPr>
              <a:t>Curve visualizes all possible classification thresholds but  Classification / Confusion Matrix gives you for one threshold</a:t>
            </a:r>
            <a:endParaRPr lang="en-US" sz="1764" dirty="0">
              <a:solidFill>
                <a:srgbClr val="005CB9"/>
              </a:solidFill>
              <a:latin typeface="Segoe UI Light" panose="020B0502040204020203" pitchFamily="34" charset="0"/>
              <a:cs typeface="Segoe UI Light" panose="020B0502040204020203" pitchFamily="34" charset="0"/>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53</a:t>
            </a:fld>
            <a:endParaRPr lang="en-US"/>
          </a:p>
        </p:txBody>
      </p:sp>
    </p:spTree>
    <p:extLst>
      <p:ext uri="{BB962C8B-B14F-4D97-AF65-F5344CB8AC3E}">
        <p14:creationId xmlns:p14="http://schemas.microsoft.com/office/powerpoint/2010/main" val="225564319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960792" y="390719"/>
            <a:ext cx="10270415" cy="553998"/>
          </a:xfrm>
          <a:prstGeom prst="rect">
            <a:avLst/>
          </a:prstGeom>
        </p:spPr>
        <p:txBody>
          <a:bodyPr vert="horz" wrap="square" lIns="0" tIns="0" rIns="0" bIns="0" numCol="1" rtlCol="0" anchor="t" anchorCtr="0" compatLnSpc="1">
            <a:prstTxWarp prst="textNoShape">
              <a:avLst/>
            </a:prstTxWarp>
            <a:spAutoFit/>
          </a:bodyPr>
          <a:lstStyle/>
          <a:p>
            <a:pPr marL="10579">
              <a:lnSpc>
                <a:spcPct val="100000"/>
              </a:lnSpc>
            </a:pPr>
            <a:r>
              <a:rPr spc="5" dirty="0">
                <a:latin typeface="Segoe UI Light" panose="020B0502040204020203" pitchFamily="34" charset="0"/>
                <a:cs typeface="Segoe UI Light" panose="020B0502040204020203" pitchFamily="34" charset="0"/>
              </a:rPr>
              <a:t>Area </a:t>
            </a:r>
            <a:r>
              <a:rPr dirty="0">
                <a:latin typeface="Segoe UI Light" panose="020B0502040204020203" pitchFamily="34" charset="0"/>
                <a:cs typeface="Segoe UI Light" panose="020B0502040204020203" pitchFamily="34" charset="0"/>
              </a:rPr>
              <a:t>under ROC </a:t>
            </a:r>
            <a:r>
              <a:rPr lang="nl-NL" spc="5" dirty="0">
                <a:latin typeface="Segoe UI Light" panose="020B0502040204020203" pitchFamily="34" charset="0"/>
                <a:cs typeface="Segoe UI Light" panose="020B0502040204020203" pitchFamily="34" charset="0"/>
              </a:rPr>
              <a:t>C</a:t>
            </a:r>
            <a:r>
              <a:rPr spc="5" dirty="0" err="1">
                <a:latin typeface="Segoe UI Light" panose="020B0502040204020203" pitchFamily="34" charset="0"/>
                <a:cs typeface="Segoe UI Light" panose="020B0502040204020203" pitchFamily="34" charset="0"/>
              </a:rPr>
              <a:t>urve</a:t>
            </a:r>
            <a:r>
              <a:rPr lang="nl-NL" spc="-157" dirty="0">
                <a:latin typeface="Segoe UI Light" panose="020B0502040204020203" pitchFamily="34" charset="0"/>
                <a:cs typeface="Segoe UI Light" panose="020B0502040204020203" pitchFamily="34" charset="0"/>
              </a:rPr>
              <a:t>: </a:t>
            </a:r>
            <a:r>
              <a:rPr dirty="0">
                <a:latin typeface="Segoe UI Light" panose="020B0502040204020203" pitchFamily="34" charset="0"/>
                <a:cs typeface="Segoe UI Light" panose="020B0502040204020203" pitchFamily="34" charset="0"/>
              </a:rPr>
              <a:t>Interpretation</a:t>
            </a:r>
          </a:p>
        </p:txBody>
      </p:sp>
      <p:sp>
        <p:nvSpPr>
          <p:cNvPr id="5" name="object 5"/>
          <p:cNvSpPr txBox="1"/>
          <p:nvPr/>
        </p:nvSpPr>
        <p:spPr>
          <a:xfrm>
            <a:off x="960792" y="1585910"/>
            <a:ext cx="9130101" cy="3704732"/>
          </a:xfrm>
          <a:prstGeom prst="rect">
            <a:avLst/>
          </a:prstGeom>
        </p:spPr>
        <p:txBody>
          <a:bodyPr vert="horz" wrap="square" lIns="0" tIns="0" rIns="0" bIns="0" rtlCol="0">
            <a:spAutoFit/>
          </a:bodyPr>
          <a:lstStyle/>
          <a:p>
            <a:pPr marL="29870" defTabSz="896112"/>
            <a:r>
              <a:rPr lang="nl-NL" sz="2395" dirty="0">
                <a:solidFill>
                  <a:srgbClr val="646464"/>
                </a:solidFill>
              </a:rPr>
              <a:t>N</a:t>
            </a:r>
            <a:r>
              <a:rPr sz="2395" dirty="0">
                <a:solidFill>
                  <a:srgbClr val="646464"/>
                </a:solidFill>
              </a:rPr>
              <a:t>on-bike-buyer AUC is between 0.5 and 1</a:t>
            </a:r>
          </a:p>
          <a:p>
            <a:pPr marL="12446" defTabSz="896112">
              <a:spcBef>
                <a:spcPts val="564"/>
              </a:spcBef>
            </a:pPr>
            <a:r>
              <a:rPr sz="2395" dirty="0">
                <a:solidFill>
                  <a:srgbClr val="646464"/>
                </a:solidFill>
              </a:rPr>
              <a:t>The higher the area under the curve, the better the model’s performance</a:t>
            </a:r>
          </a:p>
          <a:p>
            <a:pPr defTabSz="896112">
              <a:spcBef>
                <a:spcPts val="29"/>
              </a:spcBef>
            </a:pPr>
            <a:endParaRPr sz="2395" dirty="0">
              <a:solidFill>
                <a:srgbClr val="646464"/>
              </a:solidFill>
            </a:endParaRPr>
          </a:p>
          <a:p>
            <a:pPr marL="12446" defTabSz="896112">
              <a:lnSpc>
                <a:spcPts val="2695"/>
              </a:lnSpc>
              <a:spcBef>
                <a:spcPts val="5"/>
              </a:spcBef>
              <a:tabLst>
                <a:tab pos="325463" algn="l"/>
              </a:tabLst>
            </a:pPr>
            <a:r>
              <a:rPr sz="2395" dirty="0">
                <a:solidFill>
                  <a:srgbClr val="646464"/>
                </a:solidFill>
              </a:rPr>
              <a:t>If	ROC AUC</a:t>
            </a:r>
          </a:p>
          <a:p>
            <a:pPr marL="29870" defTabSz="896112">
              <a:lnSpc>
                <a:spcPts val="2695"/>
              </a:lnSpc>
              <a:tabLst>
                <a:tab pos="1366571" algn="l"/>
              </a:tabLst>
            </a:pPr>
            <a:r>
              <a:rPr sz="2352" spc="-5" dirty="0">
                <a:solidFill>
                  <a:srgbClr val="005CB9"/>
                </a:solidFill>
                <a:cs typeface="Segoe UI Light"/>
              </a:rPr>
              <a:t>0.9</a:t>
            </a:r>
            <a:r>
              <a:rPr sz="2352" spc="10" dirty="0">
                <a:solidFill>
                  <a:srgbClr val="005CB9"/>
                </a:solidFill>
                <a:cs typeface="Segoe UI Light"/>
              </a:rPr>
              <a:t> </a:t>
            </a:r>
            <a:r>
              <a:rPr sz="2352" dirty="0">
                <a:solidFill>
                  <a:srgbClr val="005CB9"/>
                </a:solidFill>
                <a:cs typeface="Segoe UI Light"/>
              </a:rPr>
              <a:t>to </a:t>
            </a:r>
            <a:r>
              <a:rPr sz="2352" spc="118" dirty="0">
                <a:solidFill>
                  <a:srgbClr val="005CB9"/>
                </a:solidFill>
                <a:cs typeface="Segoe UI Light"/>
              </a:rPr>
              <a:t>1.0	</a:t>
            </a:r>
            <a:r>
              <a:rPr sz="2352" dirty="0">
                <a:solidFill>
                  <a:srgbClr val="005CB9"/>
                </a:solidFill>
                <a:cs typeface="Segoe UI Light"/>
              </a:rPr>
              <a:t>= </a:t>
            </a:r>
            <a:r>
              <a:rPr sz="2352" spc="-5" dirty="0">
                <a:solidFill>
                  <a:srgbClr val="005CB9"/>
                </a:solidFill>
                <a:cs typeface="Segoe UI Light"/>
              </a:rPr>
              <a:t>Suspiciously</a:t>
            </a:r>
            <a:r>
              <a:rPr sz="2352" spc="-88" dirty="0">
                <a:solidFill>
                  <a:srgbClr val="005CB9"/>
                </a:solidFill>
                <a:cs typeface="Segoe UI Light"/>
              </a:rPr>
              <a:t> </a:t>
            </a:r>
            <a:r>
              <a:rPr sz="2352" dirty="0">
                <a:solidFill>
                  <a:srgbClr val="005CB9"/>
                </a:solidFill>
                <a:cs typeface="Segoe UI Light"/>
              </a:rPr>
              <a:t>Good</a:t>
            </a:r>
          </a:p>
          <a:p>
            <a:pPr marL="29870" defTabSz="896112"/>
            <a:r>
              <a:rPr sz="2395" dirty="0">
                <a:solidFill>
                  <a:srgbClr val="646464"/>
                </a:solidFill>
              </a:rPr>
              <a:t>0.8 to 0.9 = Fair</a:t>
            </a:r>
          </a:p>
          <a:p>
            <a:pPr marL="29870" defTabSz="896112"/>
            <a:r>
              <a:rPr sz="2395" dirty="0">
                <a:solidFill>
                  <a:srgbClr val="646464"/>
                </a:solidFill>
              </a:rPr>
              <a:t>0.6 to 0.8 = Decent Model</a:t>
            </a:r>
          </a:p>
          <a:p>
            <a:pPr marL="29870" defTabSz="896112"/>
            <a:r>
              <a:rPr sz="2352" spc="-5" dirty="0">
                <a:solidFill>
                  <a:srgbClr val="FF0000"/>
                </a:solidFill>
                <a:cs typeface="Segoe UI Light"/>
              </a:rPr>
              <a:t>0.5 </a:t>
            </a:r>
            <a:r>
              <a:rPr sz="2352" dirty="0">
                <a:solidFill>
                  <a:srgbClr val="FF0000"/>
                </a:solidFill>
                <a:cs typeface="Segoe UI Light"/>
              </a:rPr>
              <a:t>to </a:t>
            </a:r>
            <a:r>
              <a:rPr sz="2352" spc="-5" dirty="0">
                <a:solidFill>
                  <a:srgbClr val="FF0000"/>
                </a:solidFill>
                <a:cs typeface="Segoe UI Light"/>
              </a:rPr>
              <a:t>0.6 </a:t>
            </a:r>
            <a:r>
              <a:rPr sz="2352" dirty="0">
                <a:solidFill>
                  <a:srgbClr val="FF0000"/>
                </a:solidFill>
                <a:cs typeface="Segoe UI Light"/>
              </a:rPr>
              <a:t>= Worthless</a:t>
            </a:r>
            <a:r>
              <a:rPr sz="2352" spc="-20" dirty="0">
                <a:solidFill>
                  <a:srgbClr val="FF0000"/>
                </a:solidFill>
                <a:cs typeface="Segoe UI Light"/>
              </a:rPr>
              <a:t> </a:t>
            </a:r>
            <a:r>
              <a:rPr sz="2352" dirty="0">
                <a:solidFill>
                  <a:srgbClr val="FF0000"/>
                </a:solidFill>
                <a:cs typeface="Segoe UI Light"/>
              </a:rPr>
              <a:t>Model</a:t>
            </a:r>
            <a:endParaRPr sz="2352" dirty="0">
              <a:solidFill>
                <a:srgbClr val="005CB9"/>
              </a:solidFill>
              <a:cs typeface="Segoe UI Light"/>
            </a:endParaRPr>
          </a:p>
          <a:p>
            <a:pPr marL="29870" defTabSz="896112">
              <a:tabLst>
                <a:tab pos="1424445" algn="l"/>
              </a:tabLst>
            </a:pPr>
            <a:r>
              <a:rPr sz="2352" dirty="0">
                <a:solidFill>
                  <a:srgbClr val="FF0000"/>
                </a:solidFill>
                <a:cs typeface="Segoe UI Light"/>
              </a:rPr>
              <a:t>&lt; 0.5	= use coin flip</a:t>
            </a:r>
            <a:r>
              <a:rPr sz="2352" spc="-39" dirty="0">
                <a:solidFill>
                  <a:srgbClr val="FF0000"/>
                </a:solidFill>
                <a:cs typeface="Segoe UI Light"/>
              </a:rPr>
              <a:t> </a:t>
            </a:r>
            <a:r>
              <a:rPr sz="2352" spc="-5" dirty="0">
                <a:solidFill>
                  <a:srgbClr val="FF0000"/>
                </a:solidFill>
                <a:cs typeface="Segoe UI Light"/>
              </a:rPr>
              <a:t>instead</a:t>
            </a:r>
            <a:endParaRPr sz="2352" dirty="0">
              <a:solidFill>
                <a:srgbClr val="005CB9"/>
              </a:solidFill>
              <a:cs typeface="Segoe UI Light"/>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54</a:t>
            </a:fld>
            <a:endParaRPr lang="en-US"/>
          </a:p>
        </p:txBody>
      </p:sp>
    </p:spTree>
    <p:extLst>
      <p:ext uri="{BB962C8B-B14F-4D97-AF65-F5344CB8AC3E}">
        <p14:creationId xmlns:p14="http://schemas.microsoft.com/office/powerpoint/2010/main" val="215725793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37272" y="1097280"/>
            <a:ext cx="11048328" cy="5061782"/>
          </a:xfrm>
          <a:prstGeom prst="round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a:lstStyle/>
          <a:p>
            <a:pPr marL="456377" indent="-456377">
              <a:buClr>
                <a:schemeClr val="tx2"/>
              </a:buClr>
              <a:buFont typeface="Wingdings" panose="05000000000000000000" pitchFamily="2" charset="2"/>
              <a:buChar char="§"/>
            </a:pPr>
            <a:r>
              <a:rPr lang="en-US" kern="1200" dirty="0">
                <a:solidFill>
                  <a:schemeClr val="tx1"/>
                </a:solidFill>
                <a:latin typeface="Segoe UI Light" panose="020B0502040204020203" pitchFamily="34" charset="0"/>
                <a:cs typeface="Segoe UI Light" panose="020B0502040204020203" pitchFamily="34" charset="0"/>
                <a:sym typeface="Calibri"/>
              </a:rPr>
              <a:t>Linear Regression is a supervised learning technique which predicts real/continuous valued output</a:t>
            </a:r>
          </a:p>
          <a:p>
            <a:pPr marL="456377" indent="-456377">
              <a:buClr>
                <a:schemeClr val="tx2"/>
              </a:buClr>
              <a:buFont typeface="Wingdings" panose="05000000000000000000" pitchFamily="2" charset="2"/>
              <a:buChar char="§"/>
            </a:pPr>
            <a:r>
              <a:rPr lang="nl-NL" kern="1200" dirty="0">
                <a:solidFill>
                  <a:schemeClr val="tx1"/>
                </a:solidFill>
                <a:latin typeface="Segoe UI Light" panose="020B0502040204020203" pitchFamily="34" charset="0"/>
                <a:cs typeface="Segoe UI Light" panose="020B0502040204020203" pitchFamily="34" charset="0"/>
                <a:sym typeface="Calibri"/>
              </a:rPr>
              <a:t>Linear Regression can be conducted with multiple variables</a:t>
            </a:r>
            <a:endParaRPr lang="en-US" kern="1200" dirty="0">
              <a:solidFill>
                <a:schemeClr val="tx1"/>
              </a:solidFill>
              <a:latin typeface="Segoe UI Light" panose="020B0502040204020203" pitchFamily="34" charset="0"/>
              <a:cs typeface="Segoe UI Light" panose="020B0502040204020203" pitchFamily="34" charset="0"/>
              <a:sym typeface="Calibri"/>
            </a:endParaRPr>
          </a:p>
          <a:p>
            <a:pPr marL="456377" indent="-456377">
              <a:buClr>
                <a:schemeClr val="tx2"/>
              </a:buClr>
              <a:buFont typeface="Wingdings" panose="05000000000000000000" pitchFamily="2" charset="2"/>
              <a:buChar char="§"/>
            </a:pPr>
            <a:r>
              <a:rPr lang="en-US" kern="1200" dirty="0">
                <a:solidFill>
                  <a:schemeClr val="tx1"/>
                </a:solidFill>
                <a:latin typeface="Segoe UI Light" panose="020B0502040204020203" pitchFamily="34" charset="0"/>
                <a:cs typeface="Segoe UI Light" panose="020B0502040204020203" pitchFamily="34" charset="0"/>
                <a:sym typeface="Calibri"/>
              </a:rPr>
              <a:t>Overfitting should be avoided and it happens when we learn too much about the training data without being able to generalize</a:t>
            </a:r>
          </a:p>
          <a:p>
            <a:pPr marL="456377" indent="-456377">
              <a:buClr>
                <a:schemeClr val="tx2"/>
              </a:buClr>
              <a:buFont typeface="Wingdings" panose="05000000000000000000" pitchFamily="2" charset="2"/>
              <a:buChar char="§"/>
            </a:pPr>
            <a:r>
              <a:rPr lang="en-US" kern="1200" dirty="0">
                <a:solidFill>
                  <a:schemeClr val="tx1"/>
                </a:solidFill>
                <a:latin typeface="Segoe UI Light" panose="020B0502040204020203" pitchFamily="34" charset="0"/>
                <a:cs typeface="Segoe UI Light" panose="020B0502040204020203" pitchFamily="34" charset="0"/>
                <a:sym typeface="Calibri"/>
              </a:rPr>
              <a:t>An influential point can change the estimates significantly when omitted</a:t>
            </a:r>
          </a:p>
          <a:p>
            <a:pPr marL="456377" indent="-456377">
              <a:buClr>
                <a:schemeClr val="tx2"/>
              </a:buClr>
              <a:buFont typeface="Wingdings" panose="05000000000000000000" pitchFamily="2" charset="2"/>
              <a:buChar char="§"/>
            </a:pPr>
            <a:r>
              <a:rPr lang="nl-NL" kern="1200" dirty="0">
                <a:solidFill>
                  <a:schemeClr val="tx1"/>
                </a:solidFill>
                <a:latin typeface="Segoe UI Light" panose="020B0502040204020203" pitchFamily="34" charset="0"/>
                <a:cs typeface="Segoe UI Light" panose="020B0502040204020203" pitchFamily="34" charset="0"/>
                <a:sym typeface="Calibri"/>
              </a:rPr>
              <a:t>Influential points do not necessarily have high </a:t>
            </a:r>
            <a:r>
              <a:rPr lang="nl-NL" kern="1200" dirty="0" err="1">
                <a:solidFill>
                  <a:schemeClr val="tx1"/>
                </a:solidFill>
                <a:latin typeface="Segoe UI Light" panose="020B0502040204020203" pitchFamily="34" charset="0"/>
                <a:cs typeface="Segoe UI Light" panose="020B0502040204020203" pitchFamily="34" charset="0"/>
                <a:sym typeface="Calibri"/>
              </a:rPr>
              <a:t>leverage</a:t>
            </a:r>
            <a:r>
              <a:rPr lang="nl-NL" kern="1200" dirty="0">
                <a:solidFill>
                  <a:schemeClr val="tx1"/>
                </a:solidFill>
                <a:latin typeface="Segoe UI Light" panose="020B0502040204020203" pitchFamily="34" charset="0"/>
                <a:cs typeface="Segoe UI Light" panose="020B0502040204020203" pitchFamily="34" charset="0"/>
                <a:sym typeface="Calibri"/>
              </a:rPr>
              <a:t> and vica versa</a:t>
            </a:r>
          </a:p>
          <a:p>
            <a:pPr marL="456377" indent="-456377">
              <a:buClr>
                <a:schemeClr val="tx2"/>
              </a:buClr>
              <a:buFont typeface="Wingdings" panose="05000000000000000000" pitchFamily="2" charset="2"/>
              <a:buChar char="§"/>
            </a:pPr>
            <a:r>
              <a:rPr lang="en-US" kern="1200" dirty="0">
                <a:solidFill>
                  <a:schemeClr val="tx1"/>
                </a:solidFill>
                <a:latin typeface="Segoe UI Light" panose="020B0502040204020203" pitchFamily="34" charset="0"/>
                <a:cs typeface="Segoe UI Light" panose="020B0502040204020203" pitchFamily="34" charset="0"/>
                <a:sym typeface="Calibri"/>
              </a:rPr>
              <a:t>Logistic Regression is a classification algorithm that can be used to predict a class based outcome</a:t>
            </a:r>
          </a:p>
          <a:p>
            <a:pPr marL="448056" indent="-448056">
              <a:spcAft>
                <a:spcPts val="147"/>
              </a:spcAft>
              <a:buClr>
                <a:schemeClr val="tx2"/>
              </a:buClr>
              <a:buFont typeface="Wingdings" panose="05000000000000000000" pitchFamily="2" charset="2"/>
              <a:buChar char="§"/>
            </a:pPr>
            <a:r>
              <a:rPr lang="en-US" altLang="ja-JP" dirty="0">
                <a:solidFill>
                  <a:schemeClr val="tx1"/>
                </a:solidFill>
                <a:latin typeface="Segoe UI Light" panose="020B0502040204020203" pitchFamily="34" charset="0"/>
                <a:cs typeface="Segoe UI Light" panose="020B0502040204020203" pitchFamily="34" charset="0"/>
              </a:rPr>
              <a:t>Different metrics are used to evaluate model performance, the confusion matrix, accuracy, precision, recall and specificity are the main metrics used</a:t>
            </a:r>
          </a:p>
          <a:p>
            <a:pPr marL="448056" indent="-448056">
              <a:spcAft>
                <a:spcPts val="147"/>
              </a:spcAft>
              <a:buClr>
                <a:schemeClr val="tx2"/>
              </a:buClr>
              <a:buFont typeface="Wingdings" panose="05000000000000000000" pitchFamily="2" charset="2"/>
              <a:buChar char="§"/>
            </a:pPr>
            <a:r>
              <a:rPr lang="en-US" altLang="ja-JP" dirty="0">
                <a:solidFill>
                  <a:schemeClr val="tx1"/>
                </a:solidFill>
                <a:latin typeface="Segoe UI Light" panose="020B0502040204020203" pitchFamily="34" charset="0"/>
                <a:cs typeface="Segoe UI Light" panose="020B0502040204020203" pitchFamily="34" charset="0"/>
              </a:rPr>
              <a:t>The area under the ROC curve is a also a measure of model performance: the higher the area under the curve, the better the model performance</a:t>
            </a:r>
          </a:p>
          <a:p>
            <a:pPr marL="0" indent="0">
              <a:buNone/>
            </a:pPr>
            <a:endParaRPr lang="en-US" dirty="0">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You learnt so far…</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0292" y="4746030"/>
            <a:ext cx="1413032" cy="1413032"/>
          </a:xfrm>
          <a:prstGeom prst="rect">
            <a:avLst/>
          </a:prstGeom>
        </p:spPr>
      </p:pic>
      <p:sp>
        <p:nvSpPr>
          <p:cNvPr id="3" name="Slide Number Placeholder 2"/>
          <p:cNvSpPr>
            <a:spLocks noGrp="1"/>
          </p:cNvSpPr>
          <p:nvPr>
            <p:ph type="sldNum" sz="quarter" idx="12"/>
          </p:nvPr>
        </p:nvSpPr>
        <p:spPr/>
        <p:txBody>
          <a:bodyPr/>
          <a:lstStyle/>
          <a:p>
            <a:fld id="{3847DB54-D037-B84F-B6F1-2E8DA40D09AD}" type="slidenum">
              <a:rPr lang="en-US" smtClean="0"/>
              <a:pPr/>
              <a:t>55</a:t>
            </a:fld>
            <a:endParaRPr lang="en-US"/>
          </a:p>
        </p:txBody>
      </p:sp>
    </p:spTree>
    <p:extLst>
      <p:ext uri="{BB962C8B-B14F-4D97-AF65-F5344CB8AC3E}">
        <p14:creationId xmlns:p14="http://schemas.microsoft.com/office/powerpoint/2010/main" val="1154233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marL="0" indent="0">
              <a:buNone/>
            </a:pPr>
            <a:endParaRPr lang="en-US" sz="1799" dirty="0">
              <a:latin typeface="Calibri" panose="020F0502020204030204" pitchFamily="34" charset="0"/>
            </a:endParaRPr>
          </a:p>
          <a:p>
            <a:pPr marL="0" indent="0">
              <a:buNone/>
            </a:pPr>
            <a:endParaRPr lang="en-US" sz="1799" dirty="0">
              <a:latin typeface="Calibri" panose="020F0502020204030204" pitchFamily="34" charset="0"/>
            </a:endParaRPr>
          </a:p>
        </p:txBody>
      </p:sp>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Linear Regression</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1059601" y="1524000"/>
            <a:ext cx="7701436" cy="2739170"/>
          </a:xfrm>
          <a:prstGeom prst="rect">
            <a:avLst/>
          </a:prstGeom>
        </p:spPr>
        <p:txBody>
          <a:bodyPr wrap="square" lIns="0" tIns="0" rIns="0" bIns="0" rtlCol="0">
            <a:noAutofit/>
          </a:bodyPr>
          <a:lstStyle/>
          <a:p>
            <a:pPr marL="12677" marR="52318" defTabSz="912754">
              <a:lnSpc>
                <a:spcPts val="3409"/>
              </a:lnSpc>
              <a:spcBef>
                <a:spcPts val="788"/>
              </a:spcBef>
            </a:pPr>
            <a:r>
              <a:rPr lang="en-US" sz="2400" u="sng" dirty="0">
                <a:solidFill>
                  <a:srgbClr val="000000"/>
                </a:solidFill>
                <a:latin typeface="Segoe UI Light" panose="020B0502040204020203" pitchFamily="34" charset="0"/>
                <a:cs typeface="Segoe UI Light" panose="020B0502040204020203" pitchFamily="34" charset="0"/>
              </a:rPr>
              <a:t>Supervised Learning</a:t>
            </a:r>
          </a:p>
          <a:p>
            <a:pPr marL="12677" marR="52318" defTabSz="912754">
              <a:lnSpc>
                <a:spcPts val="3409"/>
              </a:lnSpc>
              <a:spcBef>
                <a:spcPts val="788"/>
              </a:spcBef>
            </a:pPr>
            <a:r>
              <a:rPr lang="en-US" sz="2400" dirty="0">
                <a:solidFill>
                  <a:srgbClr val="000000"/>
                </a:solidFill>
                <a:latin typeface="Segoe UI Light" panose="020B0502040204020203" pitchFamily="34" charset="0"/>
                <a:cs typeface="Segoe UI Light" panose="020B0502040204020203" pitchFamily="34" charset="0"/>
              </a:rPr>
              <a:t>Given the “right answer” for each example in the data</a:t>
            </a:r>
          </a:p>
          <a:p>
            <a:pPr marL="12677" marR="52318" defTabSz="912754">
              <a:lnSpc>
                <a:spcPts val="3409"/>
              </a:lnSpc>
              <a:spcBef>
                <a:spcPts val="788"/>
              </a:spcBef>
            </a:pPr>
            <a:endParaRPr lang="en-US" sz="2400" u="sng" dirty="0">
              <a:solidFill>
                <a:srgbClr val="000000"/>
              </a:solidFill>
              <a:latin typeface="Segoe UI Light" panose="020B0502040204020203" pitchFamily="34" charset="0"/>
              <a:cs typeface="Segoe UI Light" panose="020B0502040204020203" pitchFamily="34" charset="0"/>
            </a:endParaRPr>
          </a:p>
          <a:p>
            <a:pPr marL="12677" marR="52318" defTabSz="912754">
              <a:lnSpc>
                <a:spcPts val="3409"/>
              </a:lnSpc>
              <a:spcBef>
                <a:spcPts val="788"/>
              </a:spcBef>
            </a:pPr>
            <a:r>
              <a:rPr lang="en-US" sz="2400" u="sng" dirty="0">
                <a:solidFill>
                  <a:srgbClr val="000000"/>
                </a:solidFill>
                <a:latin typeface="Segoe UI Light" panose="020B0502040204020203" pitchFamily="34" charset="0"/>
                <a:cs typeface="Segoe UI Light" panose="020B0502040204020203" pitchFamily="34" charset="0"/>
              </a:rPr>
              <a:t>Regression Problem</a:t>
            </a:r>
          </a:p>
          <a:p>
            <a:pPr marL="12677" marR="52318" defTabSz="912754">
              <a:lnSpc>
                <a:spcPts val="3409"/>
              </a:lnSpc>
              <a:spcBef>
                <a:spcPts val="788"/>
              </a:spcBef>
            </a:pPr>
            <a:r>
              <a:rPr lang="en-US" sz="2400" dirty="0">
                <a:solidFill>
                  <a:srgbClr val="000000"/>
                </a:solidFill>
                <a:latin typeface="Segoe UI Light" panose="020B0502040204020203" pitchFamily="34" charset="0"/>
                <a:cs typeface="Segoe UI Light" panose="020B0502040204020203" pitchFamily="34" charset="0"/>
              </a:rPr>
              <a:t>Predict real/ continuous valued output</a:t>
            </a: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469054" marR="33747" lvl="1" defTabSz="912754">
              <a:lnSpc>
                <a:spcPts val="2540"/>
              </a:lnSpc>
              <a:spcBef>
                <a:spcPts val="127"/>
              </a:spcBef>
              <a:buClr>
                <a:srgbClr val="FF5800"/>
              </a:buClr>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400" dirty="0">
              <a:solidFill>
                <a:srgbClr val="000000"/>
              </a:solidFill>
              <a:latin typeface="Segoe UI Light" panose="020B0502040204020203" pitchFamily="34" charset="0"/>
              <a:cs typeface="Segoe UI Light" panose="020B0502040204020203" pitchFamily="34" charset="0"/>
            </a:endParaRPr>
          </a:p>
        </p:txBody>
      </p:sp>
      <p:sp>
        <p:nvSpPr>
          <p:cNvPr id="2" name="Slide Number Placeholder 1"/>
          <p:cNvSpPr>
            <a:spLocks noGrp="1"/>
          </p:cNvSpPr>
          <p:nvPr>
            <p:ph type="sldNum" sz="quarter" idx="12"/>
          </p:nvPr>
        </p:nvSpPr>
        <p:spPr/>
        <p:txBody>
          <a:bodyPr/>
          <a:lstStyle/>
          <a:p>
            <a:fld id="{3847DB54-D037-B84F-B6F1-2E8DA40D09AD}" type="slidenum">
              <a:rPr lang="en-US" smtClean="0"/>
              <a:pPr/>
              <a:t>6</a:t>
            </a:fld>
            <a:endParaRPr lang="en-US"/>
          </a:p>
        </p:txBody>
      </p:sp>
    </p:spTree>
    <p:extLst>
      <p:ext uri="{BB962C8B-B14F-4D97-AF65-F5344CB8AC3E}">
        <p14:creationId xmlns:p14="http://schemas.microsoft.com/office/powerpoint/2010/main" val="27293719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8"/>
          <p:cNvSpPr txBox="1"/>
          <p:nvPr/>
        </p:nvSpPr>
        <p:spPr>
          <a:xfrm>
            <a:off x="9937748" y="6453264"/>
            <a:ext cx="203281" cy="177471"/>
          </a:xfrm>
          <a:prstGeom prst="rect">
            <a:avLst/>
          </a:prstGeom>
        </p:spPr>
        <p:txBody>
          <a:bodyPr wrap="square" lIns="0" tIns="0" rIns="0" bIns="0" rtlCol="0">
            <a:noAutofit/>
          </a:bodyPr>
          <a:lstStyle/>
          <a:p>
            <a:pPr marL="12677" defTabSz="912754">
              <a:lnSpc>
                <a:spcPts val="1318"/>
              </a:lnSpc>
              <a:spcBef>
                <a:spcPts val="66"/>
              </a:spcBef>
            </a:pPr>
            <a:r>
              <a:rPr sz="1797" spc="4" baseline="2275" dirty="0">
                <a:solidFill>
                  <a:srgbClr val="888888"/>
                </a:solidFill>
                <a:latin typeface="Calibri"/>
                <a:cs typeface="Calibri"/>
              </a:rPr>
              <a:t>1</a:t>
            </a:r>
            <a:endParaRPr sz="1198" dirty="0">
              <a:solidFill>
                <a:srgbClr val="000000"/>
              </a:solidFill>
              <a:latin typeface="Calibri"/>
              <a:cs typeface="Calibri"/>
            </a:endParaRPr>
          </a:p>
        </p:txBody>
      </p:sp>
      <p:sp>
        <p:nvSpPr>
          <p:cNvPr id="193" name="Title 192"/>
          <p:cNvSpPr>
            <a:spLocks noGrp="1"/>
          </p:cNvSpPr>
          <p:nvPr>
            <p:ph type="title"/>
          </p:nvPr>
        </p:nvSpPr>
        <p:spPr/>
        <p:txBody>
          <a:bodyPr/>
          <a:lstStyle/>
          <a:p>
            <a:r>
              <a:rPr lang="en-US" sz="3200" dirty="0">
                <a:latin typeface="Segoe UI Light" panose="020B0502040204020203" pitchFamily="34" charset="0"/>
                <a:cs typeface="Segoe UI Light" panose="020B0502040204020203" pitchFamily="34" charset="0"/>
              </a:rPr>
              <a:t>Training Set of Housing Prices</a:t>
            </a:r>
          </a:p>
        </p:txBody>
      </p:sp>
      <p:graphicFrame>
        <p:nvGraphicFramePr>
          <p:cNvPr id="191" name="object 4"/>
          <p:cNvGraphicFramePr>
            <a:graphicFrameLocks noGrp="1"/>
          </p:cNvGraphicFramePr>
          <p:nvPr>
            <p:extLst>
              <p:ext uri="{D42A27DB-BD31-4B8C-83A1-F6EECF244321}">
                <p14:modId xmlns:p14="http://schemas.microsoft.com/office/powerpoint/2010/main" val="2334402603"/>
              </p:ext>
            </p:extLst>
          </p:nvPr>
        </p:nvGraphicFramePr>
        <p:xfrm>
          <a:off x="3332168" y="1527522"/>
          <a:ext cx="5578020" cy="2592404"/>
        </p:xfrm>
        <a:graphic>
          <a:graphicData uri="http://schemas.openxmlformats.org/drawingml/2006/table">
            <a:tbl>
              <a:tblPr firstRow="1" bandRow="1">
                <a:tableStyleId>{2D5ABB26-0587-4C30-8999-92F81FD0307C}</a:tableStyleId>
              </a:tblPr>
              <a:tblGrid>
                <a:gridCol w="2500544">
                  <a:extLst>
                    <a:ext uri="{9D8B030D-6E8A-4147-A177-3AD203B41FA5}">
                      <a16:colId xmlns:a16="http://schemas.microsoft.com/office/drawing/2014/main" val="20000"/>
                    </a:ext>
                  </a:extLst>
                </a:gridCol>
                <a:gridCol w="3077476">
                  <a:extLst>
                    <a:ext uri="{9D8B030D-6E8A-4147-A177-3AD203B41FA5}">
                      <a16:colId xmlns:a16="http://schemas.microsoft.com/office/drawing/2014/main" val="20001"/>
                    </a:ext>
                  </a:extLst>
                </a:gridCol>
              </a:tblGrid>
              <a:tr h="505863">
                <a:tc>
                  <a:txBody>
                    <a:bodyPr/>
                    <a:lstStyle/>
                    <a:p>
                      <a:pPr marL="7620" algn="ctr">
                        <a:lnSpc>
                          <a:spcPct val="100000"/>
                        </a:lnSpc>
                        <a:spcBef>
                          <a:spcPts val="45"/>
                        </a:spcBef>
                      </a:pPr>
                      <a:r>
                        <a:rPr sz="2400" b="1" i="0" spc="-5" dirty="0">
                          <a:latin typeface="Segoe UI Light" panose="020B0502040204020203" pitchFamily="34" charset="0"/>
                          <a:cs typeface="Segoe UI Light" panose="020B0502040204020203" pitchFamily="34" charset="0"/>
                        </a:rPr>
                        <a:t>Size in </a:t>
                      </a:r>
                      <a:r>
                        <a:rPr sz="2400" b="1" i="0" dirty="0">
                          <a:latin typeface="Segoe UI Light" panose="020B0502040204020203" pitchFamily="34" charset="0"/>
                          <a:cs typeface="Segoe UI Light" panose="020B0502040204020203" pitchFamily="34" charset="0"/>
                        </a:rPr>
                        <a:t>feet</a:t>
                      </a:r>
                      <a:r>
                        <a:rPr sz="2400" b="1" i="0" baseline="21164" dirty="0">
                          <a:latin typeface="Segoe UI Light" panose="020B0502040204020203" pitchFamily="34" charset="0"/>
                          <a:cs typeface="Segoe UI Light" panose="020B0502040204020203" pitchFamily="34" charset="0"/>
                        </a:rPr>
                        <a:t>2</a:t>
                      </a:r>
                      <a:r>
                        <a:rPr sz="2400" b="1" i="0" spc="232" baseline="21164" dirty="0">
                          <a:latin typeface="Segoe UI Light" panose="020B0502040204020203" pitchFamily="34" charset="0"/>
                          <a:cs typeface="Segoe UI Light" panose="020B0502040204020203" pitchFamily="34" charset="0"/>
                        </a:rPr>
                        <a:t> </a:t>
                      </a:r>
                      <a:r>
                        <a:rPr sz="2400" b="1" i="0" dirty="0">
                          <a:latin typeface="Segoe UI Light" panose="020B0502040204020203" pitchFamily="34" charset="0"/>
                          <a:cs typeface="Segoe UI Light" panose="020B0502040204020203" pitchFamily="34" charset="0"/>
                        </a:rPr>
                        <a:t>(x)</a:t>
                      </a:r>
                    </a:p>
                  </a:txBody>
                  <a:tcPr marL="0" marR="0" marT="0" marB="0">
                    <a:lnR w="12700">
                      <a:solidFill>
                        <a:srgbClr val="000000"/>
                      </a:solidFill>
                      <a:prstDash val="solid"/>
                    </a:lnR>
                    <a:lnB w="12700">
                      <a:solidFill>
                        <a:srgbClr val="000000"/>
                      </a:solidFill>
                      <a:prstDash val="solid"/>
                    </a:lnB>
                  </a:tcPr>
                </a:tc>
                <a:tc>
                  <a:txBody>
                    <a:bodyPr/>
                    <a:lstStyle/>
                    <a:p>
                      <a:pPr algn="ctr">
                        <a:lnSpc>
                          <a:spcPct val="100000"/>
                        </a:lnSpc>
                        <a:spcBef>
                          <a:spcPts val="45"/>
                        </a:spcBef>
                      </a:pPr>
                      <a:r>
                        <a:rPr sz="2400" b="1" i="0" dirty="0">
                          <a:latin typeface="Segoe UI Light" panose="020B0502040204020203" pitchFamily="34" charset="0"/>
                          <a:cs typeface="Segoe UI Light" panose="020B0502040204020203" pitchFamily="34" charset="0"/>
                        </a:rPr>
                        <a:t>Price ($) </a:t>
                      </a:r>
                      <a:r>
                        <a:rPr sz="2400" b="1" i="0" spc="-5" dirty="0">
                          <a:latin typeface="Segoe UI Light" panose="020B0502040204020203" pitchFamily="34" charset="0"/>
                          <a:cs typeface="Segoe UI Light" panose="020B0502040204020203" pitchFamily="34" charset="0"/>
                        </a:rPr>
                        <a:t>in </a:t>
                      </a:r>
                      <a:r>
                        <a:rPr sz="2400" b="1" i="0" dirty="0">
                          <a:latin typeface="Segoe UI Light" panose="020B0502040204020203" pitchFamily="34" charset="0"/>
                          <a:cs typeface="Segoe UI Light" panose="020B0502040204020203" pitchFamily="34" charset="0"/>
                        </a:rPr>
                        <a:t>1000's</a:t>
                      </a:r>
                      <a:r>
                        <a:rPr sz="2400" b="1" i="0" spc="-65" dirty="0">
                          <a:latin typeface="Segoe UI Light" panose="020B0502040204020203" pitchFamily="34" charset="0"/>
                          <a:cs typeface="Segoe UI Light" panose="020B0502040204020203" pitchFamily="34" charset="0"/>
                        </a:rPr>
                        <a:t> </a:t>
                      </a:r>
                      <a:r>
                        <a:rPr sz="2400" b="1" i="0" dirty="0">
                          <a:latin typeface="Segoe UI Light" panose="020B0502040204020203" pitchFamily="34" charset="0"/>
                          <a:cs typeface="Segoe UI Light" panose="020B0502040204020203" pitchFamily="34" charset="0"/>
                        </a:rPr>
                        <a:t>(y)</a:t>
                      </a:r>
                    </a:p>
                  </a:txBody>
                  <a:tcPr marL="0" marR="0" marT="0" marB="0">
                    <a:lnL w="12700">
                      <a:solidFill>
                        <a:srgbClr val="000000"/>
                      </a:solidFill>
                      <a:prstDash val="solid"/>
                    </a:lnL>
                    <a:lnB w="12700">
                      <a:solidFill>
                        <a:srgbClr val="000000"/>
                      </a:solidFill>
                      <a:prstDash val="solid"/>
                    </a:lnB>
                  </a:tcPr>
                </a:tc>
                <a:extLst>
                  <a:ext uri="{0D108BD9-81ED-4DB2-BD59-A6C34878D82A}">
                    <a16:rowId xmlns:a16="http://schemas.microsoft.com/office/drawing/2014/main" val="10000"/>
                  </a:ext>
                </a:extLst>
              </a:tr>
              <a:tr h="440536">
                <a:tc>
                  <a:txBody>
                    <a:bodyPr/>
                    <a:lstStyle/>
                    <a:p>
                      <a:pPr marL="4445" algn="ctr">
                        <a:lnSpc>
                          <a:spcPts val="3395"/>
                        </a:lnSpc>
                      </a:pPr>
                      <a:r>
                        <a:rPr sz="2400" b="0" i="0" spc="-5" dirty="0">
                          <a:latin typeface="Segoe UI Light" panose="020B0502040204020203" pitchFamily="34" charset="0"/>
                          <a:cs typeface="Segoe UI Light" panose="020B0502040204020203" pitchFamily="34" charset="0"/>
                        </a:rPr>
                        <a:t>2104</a:t>
                      </a:r>
                      <a:endParaRPr sz="2400" b="0" i="0">
                        <a:latin typeface="Segoe UI Light" panose="020B0502040204020203" pitchFamily="34" charset="0"/>
                        <a:cs typeface="Segoe UI Light" panose="020B0502040204020203" pitchFamily="34" charset="0"/>
                      </a:endParaRPr>
                    </a:p>
                  </a:txBody>
                  <a:tcPr marL="0" marR="0" marT="0" marB="0">
                    <a:lnR w="12700">
                      <a:solidFill>
                        <a:srgbClr val="000000"/>
                      </a:solidFill>
                      <a:prstDash val="solid"/>
                    </a:lnR>
                    <a:lnT w="12700">
                      <a:solidFill>
                        <a:srgbClr val="000000"/>
                      </a:solidFill>
                      <a:prstDash val="solid"/>
                    </a:lnT>
                  </a:tcPr>
                </a:tc>
                <a:tc>
                  <a:txBody>
                    <a:bodyPr/>
                    <a:lstStyle/>
                    <a:p>
                      <a:pPr algn="ctr">
                        <a:lnSpc>
                          <a:spcPts val="3395"/>
                        </a:lnSpc>
                      </a:pPr>
                      <a:r>
                        <a:rPr sz="2400" b="0" i="0" spc="-5" dirty="0">
                          <a:latin typeface="Segoe UI Light" panose="020B0502040204020203" pitchFamily="34" charset="0"/>
                          <a:cs typeface="Segoe UI Light" panose="020B0502040204020203" pitchFamily="34" charset="0"/>
                        </a:rPr>
                        <a:t>460</a:t>
                      </a:r>
                      <a:endParaRPr sz="2400" b="0" i="0" dirty="0">
                        <a:latin typeface="Segoe UI Light" panose="020B0502040204020203" pitchFamily="34" charset="0"/>
                        <a:cs typeface="Segoe UI Light" panose="020B0502040204020203" pitchFamily="34" charset="0"/>
                      </a:endParaRPr>
                    </a:p>
                  </a:txBody>
                  <a:tcPr marL="0" marR="0" marT="0" marB="0">
                    <a:lnL w="12700">
                      <a:solidFill>
                        <a:srgbClr val="000000"/>
                      </a:solidFill>
                      <a:prstDash val="solid"/>
                    </a:lnL>
                    <a:lnT w="12700">
                      <a:solidFill>
                        <a:srgbClr val="000000"/>
                      </a:solidFill>
                      <a:prstDash val="solid"/>
                    </a:lnT>
                  </a:tcPr>
                </a:tc>
                <a:extLst>
                  <a:ext uri="{0D108BD9-81ED-4DB2-BD59-A6C34878D82A}">
                    <a16:rowId xmlns:a16="http://schemas.microsoft.com/office/drawing/2014/main" val="10001"/>
                  </a:ext>
                </a:extLst>
              </a:tr>
              <a:tr h="413292">
                <a:tc>
                  <a:txBody>
                    <a:bodyPr/>
                    <a:lstStyle/>
                    <a:p>
                      <a:pPr marL="5715" algn="ctr">
                        <a:lnSpc>
                          <a:spcPts val="3190"/>
                        </a:lnSpc>
                      </a:pPr>
                      <a:r>
                        <a:rPr sz="2400" b="0" i="0" dirty="0">
                          <a:latin typeface="Segoe UI Light" panose="020B0502040204020203" pitchFamily="34" charset="0"/>
                          <a:cs typeface="Segoe UI Light" panose="020B0502040204020203" pitchFamily="34" charset="0"/>
                        </a:rPr>
                        <a:t>1416</a:t>
                      </a:r>
                      <a:endParaRPr sz="2400" b="0" i="0">
                        <a:latin typeface="Segoe UI Light" panose="020B0502040204020203" pitchFamily="34" charset="0"/>
                        <a:cs typeface="Segoe UI Light" panose="020B0502040204020203" pitchFamily="34" charset="0"/>
                      </a:endParaRPr>
                    </a:p>
                  </a:txBody>
                  <a:tcPr marL="0" marR="0" marT="0" marB="0">
                    <a:lnR w="12700">
                      <a:solidFill>
                        <a:srgbClr val="000000"/>
                      </a:solidFill>
                      <a:prstDash val="solid"/>
                    </a:lnR>
                  </a:tcPr>
                </a:tc>
                <a:tc>
                  <a:txBody>
                    <a:bodyPr/>
                    <a:lstStyle/>
                    <a:p>
                      <a:pPr algn="ctr">
                        <a:lnSpc>
                          <a:spcPts val="3190"/>
                        </a:lnSpc>
                      </a:pPr>
                      <a:r>
                        <a:rPr sz="2400" b="0" i="0" spc="-5" dirty="0">
                          <a:latin typeface="Segoe UI Light" panose="020B0502040204020203" pitchFamily="34" charset="0"/>
                          <a:cs typeface="Segoe UI Light" panose="020B0502040204020203" pitchFamily="34" charset="0"/>
                        </a:rPr>
                        <a:t>232</a:t>
                      </a:r>
                      <a:endParaRPr sz="2400" b="0" i="0" dirty="0">
                        <a:latin typeface="Segoe UI Light" panose="020B0502040204020203" pitchFamily="34" charset="0"/>
                        <a:cs typeface="Segoe UI Light" panose="020B0502040204020203" pitchFamily="34" charset="0"/>
                      </a:endParaRPr>
                    </a:p>
                  </a:txBody>
                  <a:tcPr marL="0" marR="0" marT="0" marB="0">
                    <a:lnL w="12700">
                      <a:solidFill>
                        <a:srgbClr val="000000"/>
                      </a:solidFill>
                      <a:prstDash val="solid"/>
                    </a:lnL>
                  </a:tcPr>
                </a:tc>
                <a:extLst>
                  <a:ext uri="{0D108BD9-81ED-4DB2-BD59-A6C34878D82A}">
                    <a16:rowId xmlns:a16="http://schemas.microsoft.com/office/drawing/2014/main" val="10002"/>
                  </a:ext>
                </a:extLst>
              </a:tr>
              <a:tr h="413279">
                <a:tc>
                  <a:txBody>
                    <a:bodyPr/>
                    <a:lstStyle/>
                    <a:p>
                      <a:pPr marL="5715" algn="ctr">
                        <a:lnSpc>
                          <a:spcPts val="3190"/>
                        </a:lnSpc>
                      </a:pPr>
                      <a:r>
                        <a:rPr sz="2400" b="0" i="0" dirty="0">
                          <a:latin typeface="Segoe UI Light" panose="020B0502040204020203" pitchFamily="34" charset="0"/>
                          <a:cs typeface="Segoe UI Light" panose="020B0502040204020203" pitchFamily="34" charset="0"/>
                        </a:rPr>
                        <a:t>1534</a:t>
                      </a:r>
                      <a:endParaRPr sz="2400" b="0" i="0">
                        <a:latin typeface="Segoe UI Light" panose="020B0502040204020203" pitchFamily="34" charset="0"/>
                        <a:cs typeface="Segoe UI Light" panose="020B0502040204020203" pitchFamily="34" charset="0"/>
                      </a:endParaRPr>
                    </a:p>
                  </a:txBody>
                  <a:tcPr marL="0" marR="0" marT="0" marB="0">
                    <a:lnR w="12700">
                      <a:solidFill>
                        <a:srgbClr val="000000"/>
                      </a:solidFill>
                      <a:prstDash val="solid"/>
                    </a:lnR>
                  </a:tcPr>
                </a:tc>
                <a:tc>
                  <a:txBody>
                    <a:bodyPr/>
                    <a:lstStyle/>
                    <a:p>
                      <a:pPr algn="ctr">
                        <a:lnSpc>
                          <a:spcPts val="3190"/>
                        </a:lnSpc>
                      </a:pPr>
                      <a:r>
                        <a:rPr sz="2400" b="0" i="0" spc="-5" dirty="0">
                          <a:latin typeface="Segoe UI Light" panose="020B0502040204020203" pitchFamily="34" charset="0"/>
                          <a:cs typeface="Segoe UI Light" panose="020B0502040204020203" pitchFamily="34" charset="0"/>
                        </a:rPr>
                        <a:t>315</a:t>
                      </a:r>
                      <a:endParaRPr sz="2400" b="0" i="0" dirty="0">
                        <a:latin typeface="Segoe UI Light" panose="020B0502040204020203" pitchFamily="34" charset="0"/>
                        <a:cs typeface="Segoe UI Light" panose="020B0502040204020203" pitchFamily="34" charset="0"/>
                      </a:endParaRPr>
                    </a:p>
                  </a:txBody>
                  <a:tcPr marL="0" marR="0" marT="0" marB="0">
                    <a:lnL w="12700">
                      <a:solidFill>
                        <a:srgbClr val="000000"/>
                      </a:solidFill>
                      <a:prstDash val="solid"/>
                    </a:lnL>
                  </a:tcPr>
                </a:tc>
                <a:extLst>
                  <a:ext uri="{0D108BD9-81ED-4DB2-BD59-A6C34878D82A}">
                    <a16:rowId xmlns:a16="http://schemas.microsoft.com/office/drawing/2014/main" val="10003"/>
                  </a:ext>
                </a:extLst>
              </a:tr>
              <a:tr h="413034">
                <a:tc>
                  <a:txBody>
                    <a:bodyPr/>
                    <a:lstStyle/>
                    <a:p>
                      <a:pPr marL="6985" algn="ctr">
                        <a:lnSpc>
                          <a:spcPts val="3190"/>
                        </a:lnSpc>
                      </a:pPr>
                      <a:r>
                        <a:rPr sz="2400" b="0" i="0" dirty="0">
                          <a:latin typeface="Segoe UI Light" panose="020B0502040204020203" pitchFamily="34" charset="0"/>
                          <a:cs typeface="Segoe UI Light" panose="020B0502040204020203" pitchFamily="34" charset="0"/>
                        </a:rPr>
                        <a:t>852</a:t>
                      </a:r>
                      <a:endParaRPr sz="2400" b="0" i="0">
                        <a:latin typeface="Segoe UI Light" panose="020B0502040204020203" pitchFamily="34" charset="0"/>
                        <a:cs typeface="Segoe UI Light" panose="020B0502040204020203" pitchFamily="34" charset="0"/>
                      </a:endParaRPr>
                    </a:p>
                  </a:txBody>
                  <a:tcPr marL="0" marR="0" marT="0" marB="0">
                    <a:lnR w="12700">
                      <a:solidFill>
                        <a:srgbClr val="000000"/>
                      </a:solidFill>
                      <a:prstDash val="solid"/>
                    </a:lnR>
                  </a:tcPr>
                </a:tc>
                <a:tc>
                  <a:txBody>
                    <a:bodyPr/>
                    <a:lstStyle/>
                    <a:p>
                      <a:pPr algn="ctr">
                        <a:lnSpc>
                          <a:spcPts val="3190"/>
                        </a:lnSpc>
                      </a:pPr>
                      <a:r>
                        <a:rPr sz="2400" b="0" i="0" dirty="0">
                          <a:latin typeface="Segoe UI Light" panose="020B0502040204020203" pitchFamily="34" charset="0"/>
                          <a:cs typeface="Segoe UI Light" panose="020B0502040204020203" pitchFamily="34" charset="0"/>
                        </a:rPr>
                        <a:t>178</a:t>
                      </a:r>
                    </a:p>
                  </a:txBody>
                  <a:tcPr marL="0" marR="0" marT="0" marB="0">
                    <a:lnL w="12700">
                      <a:solidFill>
                        <a:srgbClr val="000000"/>
                      </a:solidFill>
                      <a:prstDash val="solid"/>
                    </a:lnL>
                  </a:tcPr>
                </a:tc>
                <a:extLst>
                  <a:ext uri="{0D108BD9-81ED-4DB2-BD59-A6C34878D82A}">
                    <a16:rowId xmlns:a16="http://schemas.microsoft.com/office/drawing/2014/main" val="10004"/>
                  </a:ext>
                </a:extLst>
              </a:tr>
              <a:tr h="405649">
                <a:tc>
                  <a:txBody>
                    <a:bodyPr/>
                    <a:lstStyle/>
                    <a:p>
                      <a:pPr marL="5715" algn="ctr">
                        <a:lnSpc>
                          <a:spcPts val="3190"/>
                        </a:lnSpc>
                      </a:pPr>
                      <a:r>
                        <a:rPr sz="3200" b="0" i="0" dirty="0">
                          <a:latin typeface="Segoe UI Light" panose="020B0502040204020203" pitchFamily="34" charset="0"/>
                          <a:cs typeface="Segoe UI Light" panose="020B0502040204020203" pitchFamily="34" charset="0"/>
                        </a:rPr>
                        <a:t>…</a:t>
                      </a:r>
                      <a:endParaRPr sz="3200" b="0" i="0">
                        <a:latin typeface="Segoe UI Light" panose="020B0502040204020203" pitchFamily="34" charset="0"/>
                        <a:cs typeface="Segoe UI Light" panose="020B0502040204020203" pitchFamily="34" charset="0"/>
                      </a:endParaRPr>
                    </a:p>
                  </a:txBody>
                  <a:tcPr marL="0" marR="0" marT="0" marB="0">
                    <a:lnR w="12700">
                      <a:solidFill>
                        <a:srgbClr val="000000"/>
                      </a:solidFill>
                      <a:prstDash val="solid"/>
                    </a:lnR>
                  </a:tcPr>
                </a:tc>
                <a:tc>
                  <a:txBody>
                    <a:bodyPr/>
                    <a:lstStyle/>
                    <a:p>
                      <a:pPr algn="ctr">
                        <a:lnSpc>
                          <a:spcPts val="3190"/>
                        </a:lnSpc>
                      </a:pPr>
                      <a:r>
                        <a:rPr sz="3200" b="0" i="0" dirty="0">
                          <a:latin typeface="Segoe UI Light" panose="020B0502040204020203" pitchFamily="34" charset="0"/>
                          <a:cs typeface="Segoe UI Light" panose="020B0502040204020203" pitchFamily="34" charset="0"/>
                        </a:rPr>
                        <a:t>…</a:t>
                      </a:r>
                    </a:p>
                  </a:txBody>
                  <a:tcPr marL="0" marR="0" marT="0" marB="0">
                    <a:lnL w="12700">
                      <a:solidFill>
                        <a:srgbClr val="000000"/>
                      </a:solidFill>
                      <a:prstDash val="solid"/>
                    </a:lnL>
                  </a:tcPr>
                </a:tc>
                <a:extLst>
                  <a:ext uri="{0D108BD9-81ED-4DB2-BD59-A6C34878D82A}">
                    <a16:rowId xmlns:a16="http://schemas.microsoft.com/office/drawing/2014/main" val="10005"/>
                  </a:ext>
                </a:extLst>
              </a:tr>
            </a:tbl>
          </a:graphicData>
        </a:graphic>
      </p:graphicFrame>
      <p:sp>
        <p:nvSpPr>
          <p:cNvPr id="21" name="TextBox 20"/>
          <p:cNvSpPr txBox="1"/>
          <p:nvPr/>
        </p:nvSpPr>
        <p:spPr>
          <a:xfrm>
            <a:off x="2055442" y="4300791"/>
            <a:ext cx="5749394" cy="1935786"/>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Notation:</a:t>
            </a:r>
          </a:p>
          <a:p>
            <a:pPr marL="342283" indent="-342283" defTabSz="912754">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m = Number of training examples, m= 4</a:t>
            </a:r>
          </a:p>
          <a:p>
            <a:pPr marL="342283" indent="-342283" defTabSz="912754">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X’s = “Input” variable/ features</a:t>
            </a:r>
          </a:p>
          <a:p>
            <a:pPr marL="342283" indent="-342283" defTabSz="912754">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Y’s = “output” variable/ “target” variable</a:t>
            </a:r>
          </a:p>
          <a:p>
            <a:pPr marL="342283" indent="-342283" defTabSz="912754">
              <a:buClr>
                <a:srgbClr val="FF5800"/>
              </a:buClr>
              <a:buFont typeface="Wingdings" panose="05000000000000000000" pitchFamily="2" charset="2"/>
              <a:buChar char="§"/>
            </a:pPr>
            <a:r>
              <a:rPr lang="en-US" sz="2396" dirty="0">
                <a:solidFill>
                  <a:srgbClr val="000000"/>
                </a:solidFill>
                <a:latin typeface="Segoe UI Light" panose="020B0502040204020203" pitchFamily="34" charset="0"/>
                <a:cs typeface="Segoe UI Light" panose="020B0502040204020203" pitchFamily="34" charset="0"/>
              </a:rPr>
              <a:t>(x, y) is a training example</a:t>
            </a:r>
          </a:p>
        </p:txBody>
      </p:sp>
      <p:sp>
        <p:nvSpPr>
          <p:cNvPr id="2" name="Slide Number Placeholder 1"/>
          <p:cNvSpPr>
            <a:spLocks noGrp="1"/>
          </p:cNvSpPr>
          <p:nvPr>
            <p:ph type="sldNum" sz="quarter" idx="12"/>
          </p:nvPr>
        </p:nvSpPr>
        <p:spPr/>
        <p:txBody>
          <a:bodyPr/>
          <a:lstStyle/>
          <a:p>
            <a:fld id="{3847DB54-D037-B84F-B6F1-2E8DA40D09AD}" type="slidenum">
              <a:rPr lang="en-US" smtClean="0"/>
              <a:pPr/>
              <a:t>7</a:t>
            </a:fld>
            <a:endParaRPr lang="en-US"/>
          </a:p>
        </p:txBody>
      </p:sp>
    </p:spTree>
    <p:extLst>
      <p:ext uri="{BB962C8B-B14F-4D97-AF65-F5344CB8AC3E}">
        <p14:creationId xmlns:p14="http://schemas.microsoft.com/office/powerpoint/2010/main" val="6869030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Training Set of Housing Prices</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2242477" y="1542190"/>
            <a:ext cx="8233850" cy="4853117"/>
          </a:xfrm>
          <a:prstGeom prst="rect">
            <a:avLst/>
          </a:prstGeom>
        </p:spPr>
        <p:txBody>
          <a:bodyPr wrap="square" lIns="0" tIns="0" rIns="0" bIns="0" rtlCol="0">
            <a:noAutofit/>
          </a:bodyPr>
          <a:lstStyle/>
          <a:p>
            <a:pPr marL="12677" defTabSz="912754">
              <a:lnSpc>
                <a:spcPts val="4232"/>
              </a:lnSpc>
              <a:spcBef>
                <a:spcPts val="1422"/>
              </a:spcBef>
            </a:pPr>
            <a:endParaRPr lang="en-US" sz="1996" dirty="0">
              <a:solidFill>
                <a:srgbClr val="000000"/>
              </a:solidFill>
              <a:latin typeface="Calibri" panose="020F0502020204030204" pitchFamily="34" charset="0"/>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1996" dirty="0">
              <a:solidFill>
                <a:srgbClr val="000000"/>
              </a:solidFill>
              <a:latin typeface="Calibri" panose="020F0502020204030204" pitchFamily="34" charset="0"/>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1996" dirty="0">
              <a:solidFill>
                <a:srgbClr val="000000"/>
              </a:solidFill>
              <a:latin typeface="Calibri" panose="020F0502020204030204" pitchFamily="34" charset="0"/>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1996" dirty="0">
              <a:solidFill>
                <a:srgbClr val="000000"/>
              </a:solidFill>
              <a:latin typeface="Calibri" panose="020F0502020204030204" pitchFamily="34" charset="0"/>
              <a:cs typeface="Calibri"/>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1996" dirty="0">
              <a:solidFill>
                <a:srgbClr val="000000"/>
              </a:solidFill>
              <a:latin typeface="Calibri" panose="020F0502020204030204" pitchFamily="34" charset="0"/>
              <a:cs typeface="Calibri"/>
            </a:endParaRPr>
          </a:p>
          <a:p>
            <a:pPr marL="411246" indent="-228189" defTabSz="912754">
              <a:lnSpc>
                <a:spcPts val="2156"/>
              </a:lnSpc>
              <a:spcBef>
                <a:spcPts val="354"/>
              </a:spcBef>
              <a:tabLst>
                <a:tab pos="405668" algn="l"/>
              </a:tabLst>
            </a:pPr>
            <a:endParaRPr lang="en-US" sz="1996" baseline="2275" dirty="0">
              <a:solidFill>
                <a:srgbClr val="000000"/>
              </a:solidFill>
              <a:latin typeface="Calibri" panose="020F0502020204030204" pitchFamily="34" charset="0"/>
              <a:cs typeface="Calibri"/>
            </a:endParaRPr>
          </a:p>
          <a:p>
            <a:pPr marL="411246" indent="-228189" defTabSz="912754">
              <a:lnSpc>
                <a:spcPts val="2156"/>
              </a:lnSpc>
              <a:spcBef>
                <a:spcPts val="354"/>
              </a:spcBef>
              <a:tabLst>
                <a:tab pos="405668" algn="l"/>
              </a:tabLst>
            </a:pPr>
            <a:endParaRPr lang="en-US" sz="1996" dirty="0">
              <a:solidFill>
                <a:srgbClr val="000000"/>
              </a:solidFill>
              <a:latin typeface="Calibri" panose="020F0502020204030204" pitchFamily="34" charset="0"/>
              <a:cs typeface="Calibri"/>
            </a:endParaRPr>
          </a:p>
          <a:p>
            <a:pPr marL="411246" indent="-228189" defTabSz="912754">
              <a:lnSpc>
                <a:spcPts val="2156"/>
              </a:lnSpc>
              <a:spcBef>
                <a:spcPts val="354"/>
              </a:spcBef>
              <a:tabLst>
                <a:tab pos="405668" algn="l"/>
              </a:tabLst>
            </a:pPr>
            <a:endParaRPr lang="en-US" sz="1996" baseline="3413" dirty="0">
              <a:solidFill>
                <a:srgbClr val="000000"/>
              </a:solidFill>
              <a:latin typeface="Calibri" panose="020F0502020204030204" pitchFamily="34" charset="0"/>
              <a:cs typeface="Calibri"/>
            </a:endParaRPr>
          </a:p>
          <a:p>
            <a:pPr marL="411246" indent="-228189" defTabSz="912754">
              <a:lnSpc>
                <a:spcPts val="2156"/>
              </a:lnSpc>
              <a:spcBef>
                <a:spcPts val="354"/>
              </a:spcBef>
              <a:tabLst>
                <a:tab pos="405668" algn="l"/>
              </a:tabLst>
            </a:pPr>
            <a:endParaRPr lang="en-US" sz="1996" baseline="3413" dirty="0">
              <a:solidFill>
                <a:srgbClr val="000000"/>
              </a:solidFill>
              <a:latin typeface="Calibri" panose="020F0502020204030204" pitchFamily="34" charset="0"/>
              <a:cs typeface="Calibri"/>
            </a:endParaRPr>
          </a:p>
          <a:p>
            <a:pPr marL="411246" indent="-228189" defTabSz="912754">
              <a:lnSpc>
                <a:spcPts val="2156"/>
              </a:lnSpc>
              <a:spcBef>
                <a:spcPts val="354"/>
              </a:spcBef>
              <a:tabLst>
                <a:tab pos="405668" algn="l"/>
              </a:tabLst>
            </a:pPr>
            <a:endParaRPr lang="en-US" sz="1996" dirty="0">
              <a:solidFill>
                <a:srgbClr val="000000"/>
              </a:solidFill>
              <a:latin typeface="Calibri" panose="020F0502020204030204" pitchFamily="34" charset="0"/>
              <a:cs typeface="Calibri"/>
            </a:endParaRPr>
          </a:p>
          <a:p>
            <a:pPr marL="12677" defTabSz="912754">
              <a:lnSpc>
                <a:spcPts val="2930"/>
              </a:lnSpc>
              <a:spcBef>
                <a:spcPts val="240"/>
              </a:spcBef>
            </a:pPr>
            <a:endParaRPr lang="en-US" sz="1996" dirty="0">
              <a:solidFill>
                <a:srgbClr val="000000"/>
              </a:solidFill>
              <a:latin typeface="Calibri" panose="020F0502020204030204" pitchFamily="34" charset="0"/>
              <a:cs typeface="Calibri"/>
            </a:endParaRPr>
          </a:p>
          <a:p>
            <a:pPr marL="12677" defTabSz="912754">
              <a:lnSpc>
                <a:spcPts val="2930"/>
              </a:lnSpc>
              <a:spcBef>
                <a:spcPts val="240"/>
              </a:spcBef>
            </a:pPr>
            <a:endParaRPr lang="en-US" sz="1996" dirty="0">
              <a:solidFill>
                <a:srgbClr val="000000"/>
              </a:solidFill>
              <a:latin typeface="Calibri" panose="020F0502020204030204" pitchFamily="34" charset="0"/>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1996" dirty="0">
              <a:solidFill>
                <a:srgbClr val="000000"/>
              </a:solidFill>
              <a:latin typeface="Calibri" panose="020F0502020204030204" pitchFamily="34" charset="0"/>
              <a:cs typeface="Calibri"/>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1996" dirty="0">
              <a:solidFill>
                <a:srgbClr val="000000"/>
              </a:solidFill>
              <a:latin typeface="Calibri" panose="020F0502020204030204" pitchFamily="34" charset="0"/>
              <a:cs typeface="Calibri"/>
            </a:endParaRPr>
          </a:p>
        </p:txBody>
      </p:sp>
      <p:sp>
        <p:nvSpPr>
          <p:cNvPr id="8" name="object 5"/>
          <p:cNvSpPr/>
          <p:nvPr/>
        </p:nvSpPr>
        <p:spPr>
          <a:xfrm>
            <a:off x="2490116" y="1582782"/>
            <a:ext cx="2069687" cy="564612"/>
          </a:xfrm>
          <a:custGeom>
            <a:avLst/>
            <a:gdLst/>
            <a:ahLst/>
            <a:cxnLst/>
            <a:rect l="l" t="t" r="r" b="b"/>
            <a:pathLst>
              <a:path w="3377565" h="812800">
                <a:moveTo>
                  <a:pt x="0" y="135381"/>
                </a:moveTo>
                <a:lnTo>
                  <a:pt x="6898" y="92577"/>
                </a:lnTo>
                <a:lnTo>
                  <a:pt x="26111" y="55412"/>
                </a:lnTo>
                <a:lnTo>
                  <a:pt x="55412" y="26111"/>
                </a:lnTo>
                <a:lnTo>
                  <a:pt x="92577" y="6898"/>
                </a:lnTo>
                <a:lnTo>
                  <a:pt x="135382" y="0"/>
                </a:lnTo>
                <a:lnTo>
                  <a:pt x="3241802" y="0"/>
                </a:lnTo>
                <a:lnTo>
                  <a:pt x="3284606" y="6898"/>
                </a:lnTo>
                <a:lnTo>
                  <a:pt x="3321771" y="26111"/>
                </a:lnTo>
                <a:lnTo>
                  <a:pt x="3351072" y="55412"/>
                </a:lnTo>
                <a:lnTo>
                  <a:pt x="3370285" y="92577"/>
                </a:lnTo>
                <a:lnTo>
                  <a:pt x="3377183" y="135381"/>
                </a:lnTo>
                <a:lnTo>
                  <a:pt x="3377183" y="676910"/>
                </a:lnTo>
                <a:lnTo>
                  <a:pt x="3370285" y="719714"/>
                </a:lnTo>
                <a:lnTo>
                  <a:pt x="3351072" y="756879"/>
                </a:lnTo>
                <a:lnTo>
                  <a:pt x="3321771" y="786180"/>
                </a:lnTo>
                <a:lnTo>
                  <a:pt x="3284606" y="805393"/>
                </a:lnTo>
                <a:lnTo>
                  <a:pt x="3241802" y="812291"/>
                </a:lnTo>
                <a:lnTo>
                  <a:pt x="135382" y="812291"/>
                </a:lnTo>
                <a:lnTo>
                  <a:pt x="92577" y="805393"/>
                </a:lnTo>
                <a:lnTo>
                  <a:pt x="55412" y="786180"/>
                </a:lnTo>
                <a:lnTo>
                  <a:pt x="26111" y="756879"/>
                </a:lnTo>
                <a:lnTo>
                  <a:pt x="6898" y="719714"/>
                </a:lnTo>
                <a:lnTo>
                  <a:pt x="0" y="676910"/>
                </a:lnTo>
                <a:lnTo>
                  <a:pt x="0" y="135381"/>
                </a:lnTo>
                <a:close/>
              </a:path>
            </a:pathLst>
          </a:custGeom>
          <a:ln w="25908">
            <a:solidFill>
              <a:srgbClr val="7E2C00"/>
            </a:solidFill>
          </a:ln>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9" name="object 6"/>
          <p:cNvSpPr txBox="1"/>
          <p:nvPr/>
        </p:nvSpPr>
        <p:spPr>
          <a:xfrm>
            <a:off x="2912494" y="1652777"/>
            <a:ext cx="1249272" cy="314378"/>
          </a:xfrm>
          <a:prstGeom prst="rect">
            <a:avLst/>
          </a:prstGeom>
        </p:spPr>
        <p:txBody>
          <a:bodyPr vert="horz" wrap="square" lIns="0" tIns="0" rIns="0" bIns="0" rtlCol="0">
            <a:spAutoFit/>
          </a:bodyPr>
          <a:lstStyle/>
          <a:p>
            <a:pPr marL="12677" defTabSz="912754"/>
            <a:r>
              <a:rPr sz="1996" spc="-40" dirty="0">
                <a:solidFill>
                  <a:srgbClr val="000000"/>
                </a:solidFill>
                <a:latin typeface="Segoe UI Light" panose="020B0502040204020203" pitchFamily="34" charset="0"/>
                <a:cs typeface="Segoe UI Light" panose="020B0502040204020203" pitchFamily="34" charset="0"/>
              </a:rPr>
              <a:t>Training</a:t>
            </a:r>
            <a:r>
              <a:rPr sz="1996" spc="-60" dirty="0">
                <a:solidFill>
                  <a:srgbClr val="000000"/>
                </a:solidFill>
                <a:latin typeface="Segoe UI Light" panose="020B0502040204020203" pitchFamily="34" charset="0"/>
                <a:cs typeface="Segoe UI Light" panose="020B0502040204020203" pitchFamily="34" charset="0"/>
              </a:rPr>
              <a:t> </a:t>
            </a:r>
            <a:r>
              <a:rPr sz="1996" spc="-5" dirty="0">
                <a:solidFill>
                  <a:srgbClr val="000000"/>
                </a:solidFill>
                <a:latin typeface="Segoe UI Light" panose="020B0502040204020203" pitchFamily="34" charset="0"/>
                <a:cs typeface="Segoe UI Light" panose="020B0502040204020203" pitchFamily="34" charset="0"/>
              </a:rPr>
              <a:t>Set</a:t>
            </a:r>
            <a:endParaRPr sz="1996" dirty="0">
              <a:solidFill>
                <a:srgbClr val="000000"/>
              </a:solidFill>
              <a:latin typeface="Segoe UI Light" panose="020B0502040204020203" pitchFamily="34" charset="0"/>
              <a:cs typeface="Segoe UI Light" panose="020B0502040204020203" pitchFamily="34" charset="0"/>
            </a:endParaRPr>
          </a:p>
        </p:txBody>
      </p:sp>
      <p:sp>
        <p:nvSpPr>
          <p:cNvPr id="10" name="object 7"/>
          <p:cNvSpPr/>
          <p:nvPr/>
        </p:nvSpPr>
        <p:spPr>
          <a:xfrm>
            <a:off x="2159260" y="3011049"/>
            <a:ext cx="3043379" cy="780874"/>
          </a:xfrm>
          <a:custGeom>
            <a:avLst/>
            <a:gdLst/>
            <a:ahLst/>
            <a:cxnLst/>
            <a:rect l="l" t="t" r="r" b="b"/>
            <a:pathLst>
              <a:path w="4191000" h="782320">
                <a:moveTo>
                  <a:pt x="0" y="130302"/>
                </a:moveTo>
                <a:lnTo>
                  <a:pt x="10240" y="79563"/>
                </a:lnTo>
                <a:lnTo>
                  <a:pt x="38166" y="38147"/>
                </a:lnTo>
                <a:lnTo>
                  <a:pt x="79584" y="10233"/>
                </a:lnTo>
                <a:lnTo>
                  <a:pt x="130301" y="0"/>
                </a:lnTo>
                <a:lnTo>
                  <a:pt x="4060698" y="0"/>
                </a:lnTo>
                <a:lnTo>
                  <a:pt x="4111436" y="10233"/>
                </a:lnTo>
                <a:lnTo>
                  <a:pt x="4152852" y="38147"/>
                </a:lnTo>
                <a:lnTo>
                  <a:pt x="4180766" y="79563"/>
                </a:lnTo>
                <a:lnTo>
                  <a:pt x="4191000" y="130302"/>
                </a:lnTo>
                <a:lnTo>
                  <a:pt x="4191000" y="651510"/>
                </a:lnTo>
                <a:lnTo>
                  <a:pt x="4180766" y="702248"/>
                </a:lnTo>
                <a:lnTo>
                  <a:pt x="4152852" y="743664"/>
                </a:lnTo>
                <a:lnTo>
                  <a:pt x="4111436" y="771578"/>
                </a:lnTo>
                <a:lnTo>
                  <a:pt x="4060698" y="781812"/>
                </a:lnTo>
                <a:lnTo>
                  <a:pt x="130301" y="781812"/>
                </a:lnTo>
                <a:lnTo>
                  <a:pt x="79584" y="771578"/>
                </a:lnTo>
                <a:lnTo>
                  <a:pt x="38166" y="743664"/>
                </a:lnTo>
                <a:lnTo>
                  <a:pt x="10240" y="702248"/>
                </a:lnTo>
                <a:lnTo>
                  <a:pt x="0" y="651510"/>
                </a:lnTo>
                <a:lnTo>
                  <a:pt x="0" y="130302"/>
                </a:lnTo>
                <a:close/>
              </a:path>
            </a:pathLst>
          </a:custGeom>
          <a:ln w="25908">
            <a:solidFill>
              <a:srgbClr val="7E2C00"/>
            </a:solidFill>
          </a:ln>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1" name="object 8"/>
          <p:cNvSpPr/>
          <p:nvPr/>
        </p:nvSpPr>
        <p:spPr>
          <a:xfrm>
            <a:off x="3029751" y="4686535"/>
            <a:ext cx="770105" cy="567098"/>
          </a:xfrm>
          <a:custGeom>
            <a:avLst/>
            <a:gdLst/>
            <a:ahLst/>
            <a:cxnLst/>
            <a:rect l="l" t="t" r="r" b="b"/>
            <a:pathLst>
              <a:path w="1016635" h="782320">
                <a:moveTo>
                  <a:pt x="0" y="130301"/>
                </a:moveTo>
                <a:lnTo>
                  <a:pt x="10233" y="79563"/>
                </a:lnTo>
                <a:lnTo>
                  <a:pt x="38147" y="38147"/>
                </a:lnTo>
                <a:lnTo>
                  <a:pt x="79563" y="10233"/>
                </a:lnTo>
                <a:lnTo>
                  <a:pt x="130302" y="0"/>
                </a:lnTo>
                <a:lnTo>
                  <a:pt x="886206" y="0"/>
                </a:lnTo>
                <a:lnTo>
                  <a:pt x="936944" y="10233"/>
                </a:lnTo>
                <a:lnTo>
                  <a:pt x="978360" y="38147"/>
                </a:lnTo>
                <a:lnTo>
                  <a:pt x="1006274" y="79563"/>
                </a:lnTo>
                <a:lnTo>
                  <a:pt x="1016507" y="130301"/>
                </a:lnTo>
                <a:lnTo>
                  <a:pt x="1016507" y="651510"/>
                </a:lnTo>
                <a:lnTo>
                  <a:pt x="1006274" y="702248"/>
                </a:lnTo>
                <a:lnTo>
                  <a:pt x="978360" y="743664"/>
                </a:lnTo>
                <a:lnTo>
                  <a:pt x="936944" y="771578"/>
                </a:lnTo>
                <a:lnTo>
                  <a:pt x="886206" y="781812"/>
                </a:lnTo>
                <a:lnTo>
                  <a:pt x="130302" y="781812"/>
                </a:lnTo>
                <a:lnTo>
                  <a:pt x="79563" y="771578"/>
                </a:lnTo>
                <a:lnTo>
                  <a:pt x="38147" y="743664"/>
                </a:lnTo>
                <a:lnTo>
                  <a:pt x="10233" y="702248"/>
                </a:lnTo>
                <a:lnTo>
                  <a:pt x="0" y="651510"/>
                </a:lnTo>
                <a:lnTo>
                  <a:pt x="0" y="130301"/>
                </a:lnTo>
                <a:close/>
              </a:path>
            </a:pathLst>
          </a:custGeom>
          <a:ln w="25908">
            <a:solidFill>
              <a:srgbClr val="7E2C00"/>
            </a:solidFill>
          </a:ln>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2" name="object 9"/>
          <p:cNvSpPr txBox="1"/>
          <p:nvPr/>
        </p:nvSpPr>
        <p:spPr>
          <a:xfrm>
            <a:off x="3383432" y="4785733"/>
            <a:ext cx="416424" cy="307208"/>
          </a:xfrm>
          <a:prstGeom prst="rect">
            <a:avLst/>
          </a:prstGeom>
        </p:spPr>
        <p:txBody>
          <a:bodyPr vert="horz" wrap="square" lIns="0" tIns="0" rIns="0" bIns="0" rtlCol="0">
            <a:spAutoFit/>
          </a:bodyPr>
          <a:lstStyle/>
          <a:p>
            <a:pPr marL="12677" defTabSz="912754"/>
            <a:r>
              <a:rPr sz="1996" spc="-60" dirty="0">
                <a:solidFill>
                  <a:srgbClr val="000000"/>
                </a:solidFill>
                <a:latin typeface="Segoe UI Light" panose="020B0502040204020203" pitchFamily="34" charset="0"/>
                <a:cs typeface="Segoe UI Light" panose="020B0502040204020203" pitchFamily="34" charset="0"/>
              </a:rPr>
              <a:t>h</a:t>
            </a:r>
            <a:endParaRPr sz="1996" dirty="0">
              <a:solidFill>
                <a:srgbClr val="000000"/>
              </a:solidFill>
              <a:latin typeface="Segoe UI Light" panose="020B0502040204020203" pitchFamily="34" charset="0"/>
              <a:cs typeface="Segoe UI Light" panose="020B0502040204020203" pitchFamily="34" charset="0"/>
            </a:endParaRPr>
          </a:p>
        </p:txBody>
      </p:sp>
      <p:sp>
        <p:nvSpPr>
          <p:cNvPr id="13" name="object 10"/>
          <p:cNvSpPr txBox="1"/>
          <p:nvPr/>
        </p:nvSpPr>
        <p:spPr>
          <a:xfrm>
            <a:off x="1622147" y="4661245"/>
            <a:ext cx="726999" cy="618614"/>
          </a:xfrm>
          <a:prstGeom prst="rect">
            <a:avLst/>
          </a:prstGeom>
        </p:spPr>
        <p:txBody>
          <a:bodyPr vert="horz" wrap="square" lIns="0" tIns="0" rIns="0" bIns="0" rtlCol="0">
            <a:spAutoFit/>
          </a:bodyPr>
          <a:lstStyle/>
          <a:p>
            <a:pPr marL="42468" marR="5071" indent="-30425" defTabSz="912754"/>
            <a:r>
              <a:rPr sz="1996" spc="-5" dirty="0">
                <a:solidFill>
                  <a:srgbClr val="000000"/>
                </a:solidFill>
                <a:latin typeface="Segoe UI Light" panose="020B0502040204020203" pitchFamily="34" charset="0"/>
                <a:cs typeface="Segoe UI Light" panose="020B0502040204020203" pitchFamily="34" charset="0"/>
              </a:rPr>
              <a:t>Size</a:t>
            </a:r>
            <a:r>
              <a:rPr sz="1996" spc="-75" dirty="0">
                <a:solidFill>
                  <a:srgbClr val="000000"/>
                </a:solidFill>
                <a:latin typeface="Segoe UI Light" panose="020B0502040204020203" pitchFamily="34" charset="0"/>
                <a:cs typeface="Segoe UI Light" panose="020B0502040204020203" pitchFamily="34" charset="0"/>
              </a:rPr>
              <a:t> </a:t>
            </a:r>
            <a:r>
              <a:rPr sz="1996" spc="-25" dirty="0">
                <a:solidFill>
                  <a:srgbClr val="000000"/>
                </a:solidFill>
                <a:latin typeface="Segoe UI Light" panose="020B0502040204020203" pitchFamily="34" charset="0"/>
                <a:cs typeface="Segoe UI Light" panose="020B0502040204020203" pitchFamily="34" charset="0"/>
              </a:rPr>
              <a:t>of  </a:t>
            </a:r>
            <a:r>
              <a:rPr lang="nl-NL" sz="1996" spc="-5" dirty="0">
                <a:solidFill>
                  <a:srgbClr val="000000"/>
                </a:solidFill>
                <a:latin typeface="Segoe UI Light" panose="020B0502040204020203" pitchFamily="34" charset="0"/>
                <a:cs typeface="Segoe UI Light" panose="020B0502040204020203" pitchFamily="34" charset="0"/>
              </a:rPr>
              <a:t>H</a:t>
            </a:r>
            <a:r>
              <a:rPr sz="1996" spc="-5" dirty="0" err="1">
                <a:solidFill>
                  <a:srgbClr val="000000"/>
                </a:solidFill>
                <a:latin typeface="Segoe UI Light" panose="020B0502040204020203" pitchFamily="34" charset="0"/>
                <a:cs typeface="Segoe UI Light" panose="020B0502040204020203" pitchFamily="34" charset="0"/>
              </a:rPr>
              <a:t>ouse</a:t>
            </a:r>
            <a:endParaRPr sz="1996" dirty="0">
              <a:solidFill>
                <a:srgbClr val="000000"/>
              </a:solidFill>
              <a:latin typeface="Segoe UI Light" panose="020B0502040204020203" pitchFamily="34" charset="0"/>
              <a:cs typeface="Segoe UI Light" panose="020B0502040204020203" pitchFamily="34" charset="0"/>
            </a:endParaRPr>
          </a:p>
        </p:txBody>
      </p:sp>
      <p:sp>
        <p:nvSpPr>
          <p:cNvPr id="14" name="object 11"/>
          <p:cNvSpPr txBox="1"/>
          <p:nvPr/>
        </p:nvSpPr>
        <p:spPr>
          <a:xfrm>
            <a:off x="4559803" y="4843603"/>
            <a:ext cx="1647313" cy="314378"/>
          </a:xfrm>
          <a:prstGeom prst="rect">
            <a:avLst/>
          </a:prstGeom>
        </p:spPr>
        <p:txBody>
          <a:bodyPr vert="horz" wrap="square" lIns="0" tIns="0" rIns="0" bIns="0" rtlCol="0">
            <a:spAutoFit/>
          </a:bodyPr>
          <a:lstStyle/>
          <a:p>
            <a:pPr marL="12677" defTabSz="912754"/>
            <a:r>
              <a:rPr sz="1996" dirty="0">
                <a:solidFill>
                  <a:srgbClr val="000000"/>
                </a:solidFill>
                <a:latin typeface="Segoe UI Light" panose="020B0502040204020203" pitchFamily="34" charset="0"/>
                <a:cs typeface="Segoe UI Light" panose="020B0502040204020203" pitchFamily="34" charset="0"/>
              </a:rPr>
              <a:t>Estimated</a:t>
            </a:r>
            <a:r>
              <a:rPr sz="1996" spc="-90" dirty="0">
                <a:solidFill>
                  <a:srgbClr val="000000"/>
                </a:solidFill>
                <a:latin typeface="Segoe UI Light" panose="020B0502040204020203" pitchFamily="34" charset="0"/>
                <a:cs typeface="Segoe UI Light" panose="020B0502040204020203" pitchFamily="34" charset="0"/>
              </a:rPr>
              <a:t> </a:t>
            </a:r>
            <a:r>
              <a:rPr lang="nl-NL" sz="1996" spc="-5" dirty="0">
                <a:solidFill>
                  <a:srgbClr val="000000"/>
                </a:solidFill>
                <a:latin typeface="Segoe UI Light" panose="020B0502040204020203" pitchFamily="34" charset="0"/>
                <a:cs typeface="Segoe UI Light" panose="020B0502040204020203" pitchFamily="34" charset="0"/>
              </a:rPr>
              <a:t>P</a:t>
            </a:r>
            <a:r>
              <a:rPr sz="1996" spc="-5" dirty="0">
                <a:solidFill>
                  <a:srgbClr val="000000"/>
                </a:solidFill>
                <a:latin typeface="Segoe UI Light" panose="020B0502040204020203" pitchFamily="34" charset="0"/>
                <a:cs typeface="Segoe UI Light" panose="020B0502040204020203" pitchFamily="34" charset="0"/>
              </a:rPr>
              <a:t>rice</a:t>
            </a:r>
            <a:endParaRPr sz="1996" dirty="0">
              <a:solidFill>
                <a:srgbClr val="000000"/>
              </a:solidFill>
              <a:latin typeface="Segoe UI Light" panose="020B0502040204020203" pitchFamily="34" charset="0"/>
              <a:cs typeface="Segoe UI Light" panose="020B0502040204020203" pitchFamily="34" charset="0"/>
            </a:endParaRPr>
          </a:p>
        </p:txBody>
      </p:sp>
      <p:sp>
        <p:nvSpPr>
          <p:cNvPr id="15" name="object 12"/>
          <p:cNvSpPr/>
          <p:nvPr/>
        </p:nvSpPr>
        <p:spPr>
          <a:xfrm>
            <a:off x="3392616" y="2175700"/>
            <a:ext cx="289025" cy="811298"/>
          </a:xfrm>
          <a:custGeom>
            <a:avLst/>
            <a:gdLst/>
            <a:ahLst/>
            <a:cxnLst/>
            <a:rect l="l" t="t" r="r" b="b"/>
            <a:pathLst>
              <a:path w="289560" h="812800">
                <a:moveTo>
                  <a:pt x="0" y="523239"/>
                </a:moveTo>
                <a:lnTo>
                  <a:pt x="144780" y="812800"/>
                </a:lnTo>
                <a:lnTo>
                  <a:pt x="231648" y="639063"/>
                </a:lnTo>
                <a:lnTo>
                  <a:pt x="115824" y="639063"/>
                </a:lnTo>
                <a:lnTo>
                  <a:pt x="115824" y="615899"/>
                </a:lnTo>
                <a:lnTo>
                  <a:pt x="0" y="523239"/>
                </a:lnTo>
                <a:close/>
              </a:path>
              <a:path w="289560" h="812800">
                <a:moveTo>
                  <a:pt x="115824" y="615899"/>
                </a:moveTo>
                <a:lnTo>
                  <a:pt x="115824" y="639063"/>
                </a:lnTo>
                <a:lnTo>
                  <a:pt x="144780" y="639063"/>
                </a:lnTo>
                <a:lnTo>
                  <a:pt x="115824" y="615899"/>
                </a:lnTo>
                <a:close/>
              </a:path>
              <a:path w="289560" h="812800">
                <a:moveTo>
                  <a:pt x="173736" y="0"/>
                </a:moveTo>
                <a:lnTo>
                  <a:pt x="115824" y="0"/>
                </a:lnTo>
                <a:lnTo>
                  <a:pt x="115824" y="615899"/>
                </a:lnTo>
                <a:lnTo>
                  <a:pt x="144780" y="639063"/>
                </a:lnTo>
                <a:lnTo>
                  <a:pt x="173736" y="615899"/>
                </a:lnTo>
                <a:lnTo>
                  <a:pt x="173736" y="0"/>
                </a:lnTo>
                <a:close/>
              </a:path>
              <a:path w="289560" h="812800">
                <a:moveTo>
                  <a:pt x="173736" y="615899"/>
                </a:moveTo>
                <a:lnTo>
                  <a:pt x="144780" y="639063"/>
                </a:lnTo>
                <a:lnTo>
                  <a:pt x="173736" y="639063"/>
                </a:lnTo>
                <a:lnTo>
                  <a:pt x="173736" y="615899"/>
                </a:lnTo>
                <a:close/>
              </a:path>
              <a:path w="289560" h="812800">
                <a:moveTo>
                  <a:pt x="289560" y="523239"/>
                </a:moveTo>
                <a:lnTo>
                  <a:pt x="173736" y="615899"/>
                </a:lnTo>
                <a:lnTo>
                  <a:pt x="173736" y="639063"/>
                </a:lnTo>
                <a:lnTo>
                  <a:pt x="231648" y="639063"/>
                </a:lnTo>
                <a:lnTo>
                  <a:pt x="289560" y="523239"/>
                </a:lnTo>
                <a:close/>
              </a:path>
            </a:pathLst>
          </a:custGeom>
          <a:solidFill>
            <a:srgbClr val="7E2C00"/>
          </a:solid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6" name="object 13"/>
          <p:cNvSpPr/>
          <p:nvPr/>
        </p:nvSpPr>
        <p:spPr>
          <a:xfrm>
            <a:off x="3392616" y="3801905"/>
            <a:ext cx="289025" cy="842355"/>
          </a:xfrm>
          <a:custGeom>
            <a:avLst/>
            <a:gdLst/>
            <a:ahLst/>
            <a:cxnLst/>
            <a:rect l="l" t="t" r="r" b="b"/>
            <a:pathLst>
              <a:path w="289560" h="843914">
                <a:moveTo>
                  <a:pt x="0" y="553974"/>
                </a:moveTo>
                <a:lnTo>
                  <a:pt x="144780" y="843534"/>
                </a:lnTo>
                <a:lnTo>
                  <a:pt x="231648" y="669798"/>
                </a:lnTo>
                <a:lnTo>
                  <a:pt x="115824" y="669798"/>
                </a:lnTo>
                <a:lnTo>
                  <a:pt x="115824" y="646633"/>
                </a:lnTo>
                <a:lnTo>
                  <a:pt x="0" y="553974"/>
                </a:lnTo>
                <a:close/>
              </a:path>
              <a:path w="289560" h="843914">
                <a:moveTo>
                  <a:pt x="115824" y="646633"/>
                </a:moveTo>
                <a:lnTo>
                  <a:pt x="115824" y="669798"/>
                </a:lnTo>
                <a:lnTo>
                  <a:pt x="144780" y="669798"/>
                </a:lnTo>
                <a:lnTo>
                  <a:pt x="115824" y="646633"/>
                </a:lnTo>
                <a:close/>
              </a:path>
              <a:path w="289560" h="843914">
                <a:moveTo>
                  <a:pt x="173736" y="0"/>
                </a:moveTo>
                <a:lnTo>
                  <a:pt x="115824" y="0"/>
                </a:lnTo>
                <a:lnTo>
                  <a:pt x="115824" y="646633"/>
                </a:lnTo>
                <a:lnTo>
                  <a:pt x="144780" y="669798"/>
                </a:lnTo>
                <a:lnTo>
                  <a:pt x="173736" y="646633"/>
                </a:lnTo>
                <a:lnTo>
                  <a:pt x="173736" y="0"/>
                </a:lnTo>
                <a:close/>
              </a:path>
              <a:path w="289560" h="843914">
                <a:moveTo>
                  <a:pt x="173736" y="646633"/>
                </a:moveTo>
                <a:lnTo>
                  <a:pt x="144780" y="669798"/>
                </a:lnTo>
                <a:lnTo>
                  <a:pt x="173736" y="669798"/>
                </a:lnTo>
                <a:lnTo>
                  <a:pt x="173736" y="646633"/>
                </a:lnTo>
                <a:close/>
              </a:path>
              <a:path w="289560" h="843914">
                <a:moveTo>
                  <a:pt x="289560" y="553974"/>
                </a:moveTo>
                <a:lnTo>
                  <a:pt x="173736" y="646633"/>
                </a:lnTo>
                <a:lnTo>
                  <a:pt x="173736" y="669798"/>
                </a:lnTo>
                <a:lnTo>
                  <a:pt x="231648" y="669798"/>
                </a:lnTo>
                <a:lnTo>
                  <a:pt x="289560" y="553974"/>
                </a:lnTo>
                <a:close/>
              </a:path>
            </a:pathLst>
          </a:custGeom>
          <a:solidFill>
            <a:srgbClr val="7E2C00"/>
          </a:solid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7" name="object 14"/>
          <p:cNvSpPr/>
          <p:nvPr/>
        </p:nvSpPr>
        <p:spPr>
          <a:xfrm>
            <a:off x="2349146" y="4856281"/>
            <a:ext cx="680605" cy="312406"/>
          </a:xfrm>
          <a:custGeom>
            <a:avLst/>
            <a:gdLst/>
            <a:ahLst/>
            <a:cxnLst/>
            <a:rect l="l" t="t" r="r" b="b"/>
            <a:pathLst>
              <a:path w="1054735" h="289560">
                <a:moveTo>
                  <a:pt x="880744" y="144780"/>
                </a:moveTo>
                <a:lnTo>
                  <a:pt x="764920" y="289560"/>
                </a:lnTo>
                <a:lnTo>
                  <a:pt x="996569" y="173736"/>
                </a:lnTo>
                <a:lnTo>
                  <a:pt x="880744" y="173736"/>
                </a:lnTo>
                <a:lnTo>
                  <a:pt x="880744" y="144780"/>
                </a:lnTo>
                <a:close/>
              </a:path>
              <a:path w="1054735" h="289560">
                <a:moveTo>
                  <a:pt x="857580" y="115824"/>
                </a:moveTo>
                <a:lnTo>
                  <a:pt x="0" y="115824"/>
                </a:lnTo>
                <a:lnTo>
                  <a:pt x="0" y="173736"/>
                </a:lnTo>
                <a:lnTo>
                  <a:pt x="857580" y="173736"/>
                </a:lnTo>
                <a:lnTo>
                  <a:pt x="880744" y="144780"/>
                </a:lnTo>
                <a:lnTo>
                  <a:pt x="857580" y="115824"/>
                </a:lnTo>
                <a:close/>
              </a:path>
              <a:path w="1054735" h="289560">
                <a:moveTo>
                  <a:pt x="996569" y="115824"/>
                </a:moveTo>
                <a:lnTo>
                  <a:pt x="880744" y="115824"/>
                </a:lnTo>
                <a:lnTo>
                  <a:pt x="880744" y="173736"/>
                </a:lnTo>
                <a:lnTo>
                  <a:pt x="996569" y="173736"/>
                </a:lnTo>
                <a:lnTo>
                  <a:pt x="1054481" y="144780"/>
                </a:lnTo>
                <a:lnTo>
                  <a:pt x="996569" y="115824"/>
                </a:lnTo>
                <a:close/>
              </a:path>
              <a:path w="1054735" h="289560">
                <a:moveTo>
                  <a:pt x="764920" y="0"/>
                </a:moveTo>
                <a:lnTo>
                  <a:pt x="880744" y="144780"/>
                </a:lnTo>
                <a:lnTo>
                  <a:pt x="880744" y="115824"/>
                </a:lnTo>
                <a:lnTo>
                  <a:pt x="996569" y="115824"/>
                </a:lnTo>
                <a:lnTo>
                  <a:pt x="764920" y="0"/>
                </a:lnTo>
                <a:close/>
              </a:path>
            </a:pathLst>
          </a:custGeom>
          <a:solidFill>
            <a:srgbClr val="7E2C00"/>
          </a:solid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8" name="object 15"/>
          <p:cNvSpPr/>
          <p:nvPr/>
        </p:nvSpPr>
        <p:spPr>
          <a:xfrm>
            <a:off x="3893072" y="4856280"/>
            <a:ext cx="666731" cy="289025"/>
          </a:xfrm>
          <a:custGeom>
            <a:avLst/>
            <a:gdLst/>
            <a:ahLst/>
            <a:cxnLst/>
            <a:rect l="l" t="t" r="r" b="b"/>
            <a:pathLst>
              <a:path w="977900" h="289560">
                <a:moveTo>
                  <a:pt x="803783" y="144780"/>
                </a:moveTo>
                <a:lnTo>
                  <a:pt x="687959" y="289560"/>
                </a:lnTo>
                <a:lnTo>
                  <a:pt x="919607" y="173736"/>
                </a:lnTo>
                <a:lnTo>
                  <a:pt x="803783" y="173736"/>
                </a:lnTo>
                <a:lnTo>
                  <a:pt x="803783" y="144780"/>
                </a:lnTo>
                <a:close/>
              </a:path>
              <a:path w="977900" h="289560">
                <a:moveTo>
                  <a:pt x="780618" y="115824"/>
                </a:moveTo>
                <a:lnTo>
                  <a:pt x="0" y="115824"/>
                </a:lnTo>
                <a:lnTo>
                  <a:pt x="0" y="173736"/>
                </a:lnTo>
                <a:lnTo>
                  <a:pt x="780618" y="173736"/>
                </a:lnTo>
                <a:lnTo>
                  <a:pt x="803783" y="144780"/>
                </a:lnTo>
                <a:lnTo>
                  <a:pt x="780618" y="115824"/>
                </a:lnTo>
                <a:close/>
              </a:path>
              <a:path w="977900" h="289560">
                <a:moveTo>
                  <a:pt x="919607" y="115824"/>
                </a:moveTo>
                <a:lnTo>
                  <a:pt x="803783" y="115824"/>
                </a:lnTo>
                <a:lnTo>
                  <a:pt x="803783" y="173736"/>
                </a:lnTo>
                <a:lnTo>
                  <a:pt x="919607" y="173736"/>
                </a:lnTo>
                <a:lnTo>
                  <a:pt x="977519" y="144780"/>
                </a:lnTo>
                <a:lnTo>
                  <a:pt x="919607" y="115824"/>
                </a:lnTo>
                <a:close/>
              </a:path>
              <a:path w="977900" h="289560">
                <a:moveTo>
                  <a:pt x="687959" y="0"/>
                </a:moveTo>
                <a:lnTo>
                  <a:pt x="803783" y="144780"/>
                </a:lnTo>
                <a:lnTo>
                  <a:pt x="803783" y="115824"/>
                </a:lnTo>
                <a:lnTo>
                  <a:pt x="919607" y="115824"/>
                </a:lnTo>
                <a:lnTo>
                  <a:pt x="687959" y="0"/>
                </a:lnTo>
                <a:close/>
              </a:path>
            </a:pathLst>
          </a:custGeom>
          <a:solidFill>
            <a:srgbClr val="7E2C00"/>
          </a:solid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9" name="object 16"/>
          <p:cNvSpPr txBox="1">
            <a:spLocks/>
          </p:cNvSpPr>
          <p:nvPr/>
        </p:nvSpPr>
        <p:spPr bwMode="auto">
          <a:xfrm>
            <a:off x="7300351" y="1627224"/>
            <a:ext cx="3019295" cy="30720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lvl1pPr algn="l" rtl="0" eaLnBrk="1" fontAlgn="base" hangingPunct="1">
              <a:lnSpc>
                <a:spcPct val="90000"/>
              </a:lnSpc>
              <a:spcBef>
                <a:spcPct val="0"/>
              </a:spcBef>
              <a:spcAft>
                <a:spcPct val="30000"/>
              </a:spcAft>
              <a:defRPr sz="2403">
                <a:solidFill>
                  <a:srgbClr val="F86B16"/>
                </a:solidFill>
                <a:latin typeface="+mj-lt"/>
                <a:ea typeface="+mj-ea"/>
                <a:cs typeface="+mj-cs"/>
              </a:defRPr>
            </a:lvl1pPr>
            <a:lvl2pPr algn="l" rtl="0" eaLnBrk="1" fontAlgn="base" hangingPunct="1">
              <a:lnSpc>
                <a:spcPct val="90000"/>
              </a:lnSpc>
              <a:spcBef>
                <a:spcPct val="0"/>
              </a:spcBef>
              <a:spcAft>
                <a:spcPct val="30000"/>
              </a:spcAft>
              <a:defRPr sz="2403">
                <a:solidFill>
                  <a:schemeClr val="tx2"/>
                </a:solidFill>
                <a:latin typeface="Arial" charset="0"/>
              </a:defRPr>
            </a:lvl2pPr>
            <a:lvl3pPr algn="l" rtl="0" eaLnBrk="1" fontAlgn="base" hangingPunct="1">
              <a:lnSpc>
                <a:spcPct val="90000"/>
              </a:lnSpc>
              <a:spcBef>
                <a:spcPct val="0"/>
              </a:spcBef>
              <a:spcAft>
                <a:spcPct val="30000"/>
              </a:spcAft>
              <a:defRPr sz="2403">
                <a:solidFill>
                  <a:schemeClr val="tx2"/>
                </a:solidFill>
                <a:latin typeface="Arial" charset="0"/>
              </a:defRPr>
            </a:lvl3pPr>
            <a:lvl4pPr algn="l" rtl="0" eaLnBrk="1" fontAlgn="base" hangingPunct="1">
              <a:lnSpc>
                <a:spcPct val="90000"/>
              </a:lnSpc>
              <a:spcBef>
                <a:spcPct val="0"/>
              </a:spcBef>
              <a:spcAft>
                <a:spcPct val="30000"/>
              </a:spcAft>
              <a:defRPr sz="2403">
                <a:solidFill>
                  <a:schemeClr val="tx2"/>
                </a:solidFill>
                <a:latin typeface="Arial" charset="0"/>
              </a:defRPr>
            </a:lvl4pPr>
            <a:lvl5pPr algn="l" rtl="0" eaLnBrk="1" fontAlgn="base" hangingPunct="1">
              <a:lnSpc>
                <a:spcPct val="90000"/>
              </a:lnSpc>
              <a:spcBef>
                <a:spcPct val="0"/>
              </a:spcBef>
              <a:spcAft>
                <a:spcPct val="30000"/>
              </a:spcAft>
              <a:defRPr sz="2403">
                <a:solidFill>
                  <a:schemeClr val="tx2"/>
                </a:solidFill>
                <a:latin typeface="Arial" charset="0"/>
              </a:defRPr>
            </a:lvl5pPr>
            <a:lvl6pPr marL="343330" algn="l" rtl="0" eaLnBrk="1" fontAlgn="base" hangingPunct="1">
              <a:spcBef>
                <a:spcPct val="0"/>
              </a:spcBef>
              <a:spcAft>
                <a:spcPct val="0"/>
              </a:spcAft>
              <a:defRPr sz="2403" b="1">
                <a:solidFill>
                  <a:schemeClr val="tx2"/>
                </a:solidFill>
                <a:latin typeface="Arial" charset="0"/>
              </a:defRPr>
            </a:lvl6pPr>
            <a:lvl7pPr marL="686660" algn="l" rtl="0" eaLnBrk="1" fontAlgn="base" hangingPunct="1">
              <a:spcBef>
                <a:spcPct val="0"/>
              </a:spcBef>
              <a:spcAft>
                <a:spcPct val="0"/>
              </a:spcAft>
              <a:defRPr sz="2403" b="1">
                <a:solidFill>
                  <a:schemeClr val="tx2"/>
                </a:solidFill>
                <a:latin typeface="Arial" charset="0"/>
              </a:defRPr>
            </a:lvl7pPr>
            <a:lvl8pPr marL="1029991" algn="l" rtl="0" eaLnBrk="1" fontAlgn="base" hangingPunct="1">
              <a:spcBef>
                <a:spcPct val="0"/>
              </a:spcBef>
              <a:spcAft>
                <a:spcPct val="0"/>
              </a:spcAft>
              <a:defRPr sz="2403" b="1">
                <a:solidFill>
                  <a:schemeClr val="tx2"/>
                </a:solidFill>
                <a:latin typeface="Arial" charset="0"/>
              </a:defRPr>
            </a:lvl8pPr>
            <a:lvl9pPr marL="1373321" algn="l" rtl="0" eaLnBrk="1" fontAlgn="base" hangingPunct="1">
              <a:spcBef>
                <a:spcPct val="0"/>
              </a:spcBef>
              <a:spcAft>
                <a:spcPct val="0"/>
              </a:spcAft>
              <a:defRPr sz="2403" b="1">
                <a:solidFill>
                  <a:schemeClr val="tx2"/>
                </a:solidFill>
                <a:latin typeface="Arial" charset="0"/>
              </a:defRPr>
            </a:lvl9pPr>
          </a:lstStyle>
          <a:p>
            <a:pPr marL="12677" defTabSz="912754">
              <a:lnSpc>
                <a:spcPct val="100000"/>
              </a:lnSpc>
            </a:pPr>
            <a:r>
              <a:rPr lang="en-US" sz="1996" kern="0" spc="5" dirty="0">
                <a:solidFill>
                  <a:srgbClr val="000000"/>
                </a:solidFill>
                <a:latin typeface="Segoe UI Light" panose="020B0502040204020203" pitchFamily="34" charset="0"/>
                <a:cs typeface="Segoe UI Light" panose="020B0502040204020203" pitchFamily="34" charset="0"/>
              </a:rPr>
              <a:t>How do we </a:t>
            </a:r>
            <a:r>
              <a:rPr lang="en-US" sz="1996" kern="0" spc="-10" dirty="0">
                <a:solidFill>
                  <a:srgbClr val="000000"/>
                </a:solidFill>
                <a:latin typeface="Segoe UI Light" panose="020B0502040204020203" pitchFamily="34" charset="0"/>
                <a:cs typeface="Segoe UI Light" panose="020B0502040204020203" pitchFamily="34" charset="0"/>
              </a:rPr>
              <a:t>represent </a:t>
            </a:r>
            <a:r>
              <a:rPr lang="en-US" sz="1996" kern="0" spc="-60" dirty="0">
                <a:solidFill>
                  <a:srgbClr val="000000"/>
                </a:solidFill>
                <a:latin typeface="Segoe UI Light" panose="020B0502040204020203" pitchFamily="34" charset="0"/>
                <a:cs typeface="Segoe UI Light" panose="020B0502040204020203" pitchFamily="34" charset="0"/>
              </a:rPr>
              <a:t>h </a:t>
            </a:r>
            <a:r>
              <a:rPr lang="en-US" sz="1996" kern="0" spc="-135" dirty="0">
                <a:solidFill>
                  <a:srgbClr val="000000"/>
                </a:solidFill>
                <a:latin typeface="Segoe UI Light" panose="020B0502040204020203" pitchFamily="34" charset="0"/>
                <a:cs typeface="Segoe UI Light" panose="020B0502040204020203" pitchFamily="34" charset="0"/>
              </a:rPr>
              <a:t> </a:t>
            </a:r>
            <a:r>
              <a:rPr lang="en-US" sz="1996" kern="0" dirty="0">
                <a:solidFill>
                  <a:srgbClr val="000000"/>
                </a:solidFill>
                <a:latin typeface="Segoe UI Light" panose="020B0502040204020203" pitchFamily="34" charset="0"/>
                <a:cs typeface="Segoe UI Light" panose="020B0502040204020203" pitchFamily="34" charset="0"/>
              </a:rPr>
              <a:t>?</a:t>
            </a:r>
          </a:p>
        </p:txBody>
      </p:sp>
      <p:sp>
        <p:nvSpPr>
          <p:cNvPr id="20" name="object 17"/>
          <p:cNvSpPr txBox="1"/>
          <p:nvPr/>
        </p:nvSpPr>
        <p:spPr>
          <a:xfrm>
            <a:off x="7287911" y="5128568"/>
            <a:ext cx="3371638" cy="921623"/>
          </a:xfrm>
          <a:prstGeom prst="rect">
            <a:avLst/>
          </a:prstGeom>
        </p:spPr>
        <p:txBody>
          <a:bodyPr vert="horz" wrap="square" lIns="0" tIns="0" rIns="0" bIns="0" rtlCol="0">
            <a:spAutoFit/>
          </a:bodyPr>
          <a:lstStyle/>
          <a:p>
            <a:pPr marL="12677" marR="5071" defTabSz="912754"/>
            <a:r>
              <a:rPr sz="1996" spc="-5" dirty="0">
                <a:solidFill>
                  <a:srgbClr val="000000"/>
                </a:solidFill>
                <a:latin typeface="Segoe UI Light" panose="020B0502040204020203" pitchFamily="34" charset="0"/>
                <a:cs typeface="Segoe UI Light" panose="020B0502040204020203" pitchFamily="34" charset="0"/>
              </a:rPr>
              <a:t>Linear </a:t>
            </a:r>
            <a:r>
              <a:rPr sz="1996" spc="-10" dirty="0">
                <a:solidFill>
                  <a:srgbClr val="000000"/>
                </a:solidFill>
                <a:latin typeface="Segoe UI Light" panose="020B0502040204020203" pitchFamily="34" charset="0"/>
                <a:cs typeface="Segoe UI Light" panose="020B0502040204020203" pitchFamily="34" charset="0"/>
              </a:rPr>
              <a:t>regression </a:t>
            </a:r>
            <a:r>
              <a:rPr sz="1996" dirty="0">
                <a:solidFill>
                  <a:srgbClr val="000000"/>
                </a:solidFill>
                <a:latin typeface="Segoe UI Light" panose="020B0502040204020203" pitchFamily="34" charset="0"/>
                <a:cs typeface="Segoe UI Light" panose="020B0502040204020203" pitchFamily="34" charset="0"/>
              </a:rPr>
              <a:t>with </a:t>
            </a:r>
            <a:r>
              <a:rPr sz="1996" spc="-5" dirty="0">
                <a:solidFill>
                  <a:srgbClr val="000000"/>
                </a:solidFill>
                <a:latin typeface="Segoe UI Light" panose="020B0502040204020203" pitchFamily="34" charset="0"/>
                <a:cs typeface="Segoe UI Light" panose="020B0502040204020203" pitchFamily="34" charset="0"/>
              </a:rPr>
              <a:t>one variable (x)  </a:t>
            </a:r>
            <a:endParaRPr lang="en-US" sz="1996" spc="-5" dirty="0">
              <a:solidFill>
                <a:srgbClr val="000000"/>
              </a:solidFill>
              <a:latin typeface="Segoe UI Light" panose="020B0502040204020203" pitchFamily="34" charset="0"/>
              <a:cs typeface="Segoe UI Light" panose="020B0502040204020203" pitchFamily="34" charset="0"/>
            </a:endParaRPr>
          </a:p>
          <a:p>
            <a:pPr marL="12677" marR="5071" defTabSz="912754"/>
            <a:r>
              <a:rPr sz="1996" spc="-5" dirty="0">
                <a:solidFill>
                  <a:srgbClr val="000000"/>
                </a:solidFill>
                <a:latin typeface="Segoe UI Light" panose="020B0502040204020203" pitchFamily="34" charset="0"/>
                <a:cs typeface="Segoe UI Light" panose="020B0502040204020203" pitchFamily="34" charset="0"/>
              </a:rPr>
              <a:t>Univariate linear</a:t>
            </a:r>
            <a:r>
              <a:rPr sz="1996" spc="15" dirty="0">
                <a:solidFill>
                  <a:srgbClr val="000000"/>
                </a:solidFill>
                <a:latin typeface="Segoe UI Light" panose="020B0502040204020203" pitchFamily="34" charset="0"/>
                <a:cs typeface="Segoe UI Light" panose="020B0502040204020203" pitchFamily="34" charset="0"/>
              </a:rPr>
              <a:t> </a:t>
            </a:r>
            <a:r>
              <a:rPr sz="1996" spc="-10" dirty="0">
                <a:solidFill>
                  <a:srgbClr val="000000"/>
                </a:solidFill>
                <a:latin typeface="Segoe UI Light" panose="020B0502040204020203" pitchFamily="34" charset="0"/>
                <a:cs typeface="Segoe UI Light" panose="020B0502040204020203" pitchFamily="34" charset="0"/>
              </a:rPr>
              <a:t>regression</a:t>
            </a:r>
            <a:endParaRPr sz="1996" dirty="0">
              <a:solidFill>
                <a:srgbClr val="000000"/>
              </a:solidFill>
              <a:latin typeface="Segoe UI Light" panose="020B0502040204020203" pitchFamily="34" charset="0"/>
              <a:cs typeface="Segoe UI Light" panose="020B0502040204020203" pitchFamily="34" charset="0"/>
            </a:endParaRPr>
          </a:p>
        </p:txBody>
      </p:sp>
      <p:sp>
        <p:nvSpPr>
          <p:cNvPr id="21" name="object 18"/>
          <p:cNvSpPr txBox="1"/>
          <p:nvPr/>
        </p:nvSpPr>
        <p:spPr>
          <a:xfrm>
            <a:off x="2757976" y="5403811"/>
            <a:ext cx="1355618" cy="307135"/>
          </a:xfrm>
          <a:prstGeom prst="rect">
            <a:avLst/>
          </a:prstGeom>
        </p:spPr>
        <p:txBody>
          <a:bodyPr vert="horz" wrap="square" lIns="0" tIns="0" rIns="0" bIns="0" rtlCol="0">
            <a:spAutoFit/>
          </a:bodyPr>
          <a:lstStyle/>
          <a:p>
            <a:pPr marL="12677" defTabSz="912754"/>
            <a:r>
              <a:rPr lang="nl-NL" sz="1996" spc="-5" dirty="0">
                <a:solidFill>
                  <a:srgbClr val="000000"/>
                </a:solidFill>
                <a:latin typeface="Segoe UI Light" panose="020B0502040204020203" pitchFamily="34" charset="0"/>
                <a:cs typeface="Segoe UI Light" panose="020B0502040204020203" pitchFamily="34" charset="0"/>
              </a:rPr>
              <a:t>H</a:t>
            </a:r>
            <a:r>
              <a:rPr sz="1996" spc="-5" dirty="0" err="1">
                <a:solidFill>
                  <a:srgbClr val="000000"/>
                </a:solidFill>
                <a:latin typeface="Segoe UI Light" panose="020B0502040204020203" pitchFamily="34" charset="0"/>
                <a:cs typeface="Segoe UI Light" panose="020B0502040204020203" pitchFamily="34" charset="0"/>
              </a:rPr>
              <a:t>ypothesis</a:t>
            </a:r>
            <a:endParaRPr sz="1996" dirty="0">
              <a:solidFill>
                <a:srgbClr val="000000"/>
              </a:solidFill>
              <a:latin typeface="Segoe UI Light" panose="020B0502040204020203" pitchFamily="34" charset="0"/>
              <a:cs typeface="Segoe UI Light" panose="020B0502040204020203" pitchFamily="34" charset="0"/>
            </a:endParaRPr>
          </a:p>
        </p:txBody>
      </p:sp>
      <p:sp>
        <p:nvSpPr>
          <p:cNvPr id="22" name="object 19"/>
          <p:cNvSpPr txBox="1"/>
          <p:nvPr/>
        </p:nvSpPr>
        <p:spPr>
          <a:xfrm>
            <a:off x="1833646" y="5228433"/>
            <a:ext cx="304000" cy="307208"/>
          </a:xfrm>
          <a:prstGeom prst="rect">
            <a:avLst/>
          </a:prstGeom>
        </p:spPr>
        <p:txBody>
          <a:bodyPr vert="horz" wrap="square" lIns="0" tIns="0" rIns="0" bIns="0" rtlCol="0">
            <a:spAutoFit/>
          </a:bodyPr>
          <a:lstStyle/>
          <a:p>
            <a:pPr marL="12677" defTabSz="912754"/>
            <a:r>
              <a:rPr sz="1996" dirty="0">
                <a:solidFill>
                  <a:srgbClr val="000000"/>
                </a:solidFill>
                <a:latin typeface="Segoe UI Light" panose="020B0502040204020203" pitchFamily="34" charset="0"/>
                <a:cs typeface="Segoe UI Light" panose="020B0502040204020203" pitchFamily="34" charset="0"/>
              </a:rPr>
              <a:t>x</a:t>
            </a:r>
          </a:p>
        </p:txBody>
      </p:sp>
      <p:sp>
        <p:nvSpPr>
          <p:cNvPr id="23" name="object 20"/>
          <p:cNvSpPr/>
          <p:nvPr/>
        </p:nvSpPr>
        <p:spPr>
          <a:xfrm>
            <a:off x="6883304" y="2118360"/>
            <a:ext cx="3557358" cy="536845"/>
          </a:xfrm>
          <a:prstGeom prst="rect">
            <a:avLst/>
          </a:prstGeom>
          <a:blipFill>
            <a:blip r:embed="rId3" cstate="print"/>
            <a:stretch>
              <a:fillRect/>
            </a:stretch>
          </a:blip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24" name="object 21"/>
          <p:cNvSpPr/>
          <p:nvPr/>
        </p:nvSpPr>
        <p:spPr>
          <a:xfrm>
            <a:off x="7539050" y="3011049"/>
            <a:ext cx="2541897" cy="1469463"/>
          </a:xfrm>
          <a:prstGeom prst="rect">
            <a:avLst/>
          </a:prstGeom>
          <a:blipFill>
            <a:blip r:embed="rId4" cstate="print"/>
            <a:stretch>
              <a:fillRect/>
            </a:stretch>
          </a:blip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25" name="object 22"/>
          <p:cNvSpPr txBox="1"/>
          <p:nvPr/>
        </p:nvSpPr>
        <p:spPr>
          <a:xfrm>
            <a:off x="8709727" y="4632129"/>
            <a:ext cx="200543" cy="307208"/>
          </a:xfrm>
          <a:prstGeom prst="rect">
            <a:avLst/>
          </a:prstGeom>
        </p:spPr>
        <p:txBody>
          <a:bodyPr vert="horz" wrap="square" lIns="0" tIns="0" rIns="0" bIns="0" rtlCol="0">
            <a:spAutoFit/>
          </a:bodyPr>
          <a:lstStyle/>
          <a:p>
            <a:pPr marL="12677" defTabSz="912754"/>
            <a:r>
              <a:rPr sz="1996" dirty="0">
                <a:solidFill>
                  <a:srgbClr val="000000"/>
                </a:solidFill>
                <a:latin typeface="Segoe UI Light" panose="020B0502040204020203" pitchFamily="34" charset="0"/>
                <a:cs typeface="Segoe UI Light" panose="020B0502040204020203" pitchFamily="34" charset="0"/>
              </a:rPr>
              <a:t>x</a:t>
            </a:r>
          </a:p>
        </p:txBody>
      </p:sp>
      <p:sp>
        <p:nvSpPr>
          <p:cNvPr id="26" name="object 23"/>
          <p:cNvSpPr txBox="1"/>
          <p:nvPr/>
        </p:nvSpPr>
        <p:spPr>
          <a:xfrm>
            <a:off x="2547021" y="3236063"/>
            <a:ext cx="2239180" cy="307208"/>
          </a:xfrm>
          <a:prstGeom prst="rect">
            <a:avLst/>
          </a:prstGeom>
        </p:spPr>
        <p:txBody>
          <a:bodyPr vert="horz" wrap="square" lIns="0" tIns="0" rIns="0" bIns="0" rtlCol="0">
            <a:spAutoFit/>
          </a:bodyPr>
          <a:lstStyle/>
          <a:p>
            <a:pPr marL="12677" defTabSz="912754"/>
            <a:r>
              <a:rPr sz="1996" spc="-5" dirty="0">
                <a:solidFill>
                  <a:srgbClr val="000000"/>
                </a:solidFill>
                <a:latin typeface="Segoe UI Light" panose="020B0502040204020203" pitchFamily="34" charset="0"/>
                <a:cs typeface="Segoe UI Light" panose="020B0502040204020203" pitchFamily="34" charset="0"/>
              </a:rPr>
              <a:t>Learning</a:t>
            </a:r>
            <a:r>
              <a:rPr sz="1996" spc="-30" dirty="0">
                <a:solidFill>
                  <a:srgbClr val="000000"/>
                </a:solidFill>
                <a:latin typeface="Segoe UI Light" panose="020B0502040204020203" pitchFamily="34" charset="0"/>
                <a:cs typeface="Segoe UI Light" panose="020B0502040204020203" pitchFamily="34" charset="0"/>
              </a:rPr>
              <a:t> </a:t>
            </a:r>
            <a:r>
              <a:rPr sz="1996" spc="-5" dirty="0">
                <a:solidFill>
                  <a:srgbClr val="000000"/>
                </a:solidFill>
                <a:latin typeface="Segoe UI Light" panose="020B0502040204020203" pitchFamily="34" charset="0"/>
                <a:cs typeface="Segoe UI Light" panose="020B0502040204020203" pitchFamily="34" charset="0"/>
              </a:rPr>
              <a:t>Algorithm</a:t>
            </a:r>
            <a:endParaRPr sz="1996" dirty="0">
              <a:solidFill>
                <a:srgbClr val="00000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7197914" y="3561456"/>
            <a:ext cx="299527" cy="399370"/>
          </a:xfrm>
          <a:prstGeom prst="rect">
            <a:avLst/>
          </a:prstGeom>
          <a:noFill/>
        </p:spPr>
        <p:txBody>
          <a:bodyPr wrap="none" rtlCol="0">
            <a:spAutoFit/>
          </a:bodyPr>
          <a:lstStyle/>
          <a:p>
            <a:pPr defTabSz="912754"/>
            <a:r>
              <a:rPr lang="en-US" sz="1996" dirty="0">
                <a:solidFill>
                  <a:srgbClr val="000000"/>
                </a:solidFill>
                <a:latin typeface="Segoe UI Light" panose="020B0502040204020203" pitchFamily="34" charset="0"/>
                <a:cs typeface="Segoe UI Light" panose="020B0502040204020203" pitchFamily="34" charset="0"/>
              </a:rPr>
              <a:t>y</a:t>
            </a:r>
          </a:p>
        </p:txBody>
      </p:sp>
      <p:sp>
        <p:nvSpPr>
          <p:cNvPr id="2" name="Slide Number Placeholder 1"/>
          <p:cNvSpPr>
            <a:spLocks noGrp="1"/>
          </p:cNvSpPr>
          <p:nvPr>
            <p:ph type="sldNum" sz="quarter" idx="12"/>
          </p:nvPr>
        </p:nvSpPr>
        <p:spPr/>
        <p:txBody>
          <a:bodyPr/>
          <a:lstStyle/>
          <a:p>
            <a:fld id="{3847DB54-D037-B84F-B6F1-2E8DA40D09AD}" type="slidenum">
              <a:rPr lang="en-US" smtClean="0"/>
              <a:pPr/>
              <a:t>8</a:t>
            </a:fld>
            <a:endParaRPr lang="en-US"/>
          </a:p>
        </p:txBody>
      </p:sp>
    </p:spTree>
    <p:extLst>
      <p:ext uri="{BB962C8B-B14F-4D97-AF65-F5344CB8AC3E}">
        <p14:creationId xmlns:p14="http://schemas.microsoft.com/office/powerpoint/2010/main" val="336512522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Linear Regression with One Variable: Cost Function</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 </a:t>
            </a:r>
            <a:br>
              <a:rPr lang="en-US" dirty="0">
                <a:latin typeface="Segoe UI Light" panose="020B0502040204020203" pitchFamily="34" charset="0"/>
                <a:cs typeface="Segoe UI Light" panose="020B0502040204020203" pitchFamily="34" charset="0"/>
              </a:rPr>
            </a:b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6" name="object 12"/>
          <p:cNvSpPr txBox="1"/>
          <p:nvPr/>
        </p:nvSpPr>
        <p:spPr>
          <a:xfrm>
            <a:off x="2069429" y="1542190"/>
            <a:ext cx="8438002" cy="4853117"/>
          </a:xfrm>
          <a:prstGeom prst="rect">
            <a:avLst/>
          </a:prstGeom>
        </p:spPr>
        <p:txBody>
          <a:bodyPr vert="horz" wrap="square" lIns="0" tIns="0" rIns="0" bIns="0" rtlCol="0">
            <a:noAutofit/>
          </a:bodyPr>
          <a:lstStyle/>
          <a:p>
            <a:pPr marL="12677" marR="69637" defTabSz="912754">
              <a:lnSpc>
                <a:spcPts val="3594"/>
              </a:lnSpc>
              <a:spcBef>
                <a:spcPts val="31"/>
              </a:spcBef>
            </a:pPr>
            <a:endParaRPr lang="en-US" sz="2396" dirty="0">
              <a:solidFill>
                <a:srgbClr val="000000"/>
              </a:solidFill>
              <a:latin typeface="Segoe UI Light" panose="020B0502040204020203" pitchFamily="34" charset="0"/>
              <a:cs typeface="Segoe UI Light" panose="020B0502040204020203" pitchFamily="34" charset="0"/>
            </a:endParaRPr>
          </a:p>
          <a:p>
            <a:pPr marL="12677" marR="47675" defTabSz="912754">
              <a:lnSpc>
                <a:spcPct val="101725"/>
              </a:lnSpc>
              <a:spcBef>
                <a:spcPts val="257"/>
              </a:spcBef>
            </a:pPr>
            <a:endParaRPr lang="en-US" sz="2396" dirty="0">
              <a:solidFill>
                <a:srgbClr val="000000"/>
              </a:solidFill>
              <a:latin typeface="Segoe UI Light" panose="020B0502040204020203" pitchFamily="34" charset="0"/>
              <a:cs typeface="Segoe UI Light" panose="020B0502040204020203" pitchFamily="34" charset="0"/>
            </a:endParaRPr>
          </a:p>
          <a:p>
            <a:pPr marL="12677" defTabSz="912754">
              <a:lnSpc>
                <a:spcPts val="4232"/>
              </a:lnSpc>
              <a:spcBef>
                <a:spcPts val="1422"/>
              </a:spcBef>
            </a:pPr>
            <a:endParaRPr lang="en-US" sz="1397"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Segoe UI Light" panose="020B0502040204020203" pitchFamily="34" charset="0"/>
              <a:cs typeface="Segoe UI Light" panose="020B0502040204020203" pitchFamily="34" charset="0"/>
            </a:endParaRPr>
          </a:p>
          <a:p>
            <a:pPr marL="811337" marR="33747" lvl="1" indent="-342283" defTabSz="912754">
              <a:lnSpc>
                <a:spcPts val="2540"/>
              </a:lnSpc>
              <a:spcBef>
                <a:spcPts val="127"/>
              </a:spcBef>
              <a:buClr>
                <a:srgbClr val="FF5800"/>
              </a:buClr>
              <a:buFont typeface="Wingdings" panose="05000000000000000000" pitchFamily="2" charset="2"/>
              <a:buChar char="§"/>
            </a:pPr>
            <a:endParaRPr lang="en-US" sz="2396"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3594" baseline="2275"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2396"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3594"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3594" baseline="3413"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r>
              <a:rPr lang="en-US" sz="3594" spc="-5" baseline="3413" dirty="0">
                <a:solidFill>
                  <a:srgbClr val="000000"/>
                </a:solidFill>
                <a:latin typeface="Segoe UI Light" panose="020B0502040204020203" pitchFamily="34" charset="0"/>
                <a:cs typeface="Segoe UI Light" panose="020B0502040204020203" pitchFamily="34" charset="0"/>
              </a:rPr>
              <a:t>		 </a:t>
            </a:r>
            <a:r>
              <a:rPr lang="en-US" sz="2396" spc="-5" dirty="0">
                <a:solidFill>
                  <a:srgbClr val="000000"/>
                </a:solidFill>
                <a:latin typeface="Segoe UI Light" panose="020B0502040204020203" pitchFamily="34" charset="0"/>
                <a:cs typeface="Segoe UI Light" panose="020B0502040204020203" pitchFamily="34" charset="0"/>
              </a:rPr>
              <a:t>How to</a:t>
            </a:r>
            <a:r>
              <a:rPr lang="en-US" sz="2396" spc="-40" dirty="0">
                <a:solidFill>
                  <a:srgbClr val="000000"/>
                </a:solidFill>
                <a:latin typeface="Segoe UI Light" panose="020B0502040204020203" pitchFamily="34" charset="0"/>
                <a:cs typeface="Segoe UI Light" panose="020B0502040204020203" pitchFamily="34" charset="0"/>
              </a:rPr>
              <a:t> </a:t>
            </a:r>
            <a:r>
              <a:rPr lang="en-US" sz="2396" spc="-5" dirty="0">
                <a:solidFill>
                  <a:srgbClr val="000000"/>
                </a:solidFill>
                <a:latin typeface="Segoe UI Light" panose="020B0502040204020203" pitchFamily="34" charset="0"/>
                <a:cs typeface="Segoe UI Light" panose="020B0502040204020203" pitchFamily="34" charset="0"/>
              </a:rPr>
              <a:t>choose</a:t>
            </a:r>
            <a:endParaRPr lang="en-US" sz="2396" dirty="0">
              <a:solidFill>
                <a:srgbClr val="000000"/>
              </a:solidFill>
              <a:latin typeface="Segoe UI Light" panose="020B0502040204020203" pitchFamily="34" charset="0"/>
              <a:cs typeface="Segoe UI Light" panose="020B0502040204020203" pitchFamily="34" charset="0"/>
            </a:endParaRPr>
          </a:p>
          <a:p>
            <a:pPr marL="411246" indent="-228189" defTabSz="912754">
              <a:lnSpc>
                <a:spcPts val="2156"/>
              </a:lnSpc>
              <a:spcBef>
                <a:spcPts val="354"/>
              </a:spcBef>
              <a:tabLst>
                <a:tab pos="405668" algn="l"/>
              </a:tabLst>
            </a:pPr>
            <a:endParaRPr lang="en-US" sz="1397"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1397" dirty="0">
              <a:solidFill>
                <a:srgbClr val="000000"/>
              </a:solidFill>
              <a:latin typeface="Segoe UI Light" panose="020B0502040204020203" pitchFamily="34" charset="0"/>
              <a:cs typeface="Segoe UI Light" panose="020B0502040204020203" pitchFamily="34" charset="0"/>
            </a:endParaRPr>
          </a:p>
          <a:p>
            <a:pPr marL="12677" defTabSz="912754">
              <a:lnSpc>
                <a:spcPts val="2930"/>
              </a:lnSpc>
              <a:spcBef>
                <a:spcPts val="240"/>
              </a:spcBef>
            </a:pPr>
            <a:endParaRPr lang="en-US" sz="2396"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Segoe UI Light" panose="020B0502040204020203" pitchFamily="34" charset="0"/>
              <a:cs typeface="Segoe UI Light" panose="020B0502040204020203" pitchFamily="34" charset="0"/>
            </a:endParaRPr>
          </a:p>
          <a:p>
            <a:pPr marL="354960" marR="344338" indent="-342283" defTabSz="912754">
              <a:lnSpc>
                <a:spcPts val="3899"/>
              </a:lnSpc>
              <a:spcBef>
                <a:spcPts val="146"/>
              </a:spcBef>
              <a:buClr>
                <a:srgbClr val="FF5800"/>
              </a:buClr>
              <a:buFont typeface="Wingdings" panose="05000000000000000000" pitchFamily="2" charset="2"/>
              <a:buChar char="§"/>
            </a:pPr>
            <a:endParaRPr lang="en-US" sz="2396" dirty="0">
              <a:solidFill>
                <a:srgbClr val="000000"/>
              </a:solidFill>
              <a:latin typeface="Segoe UI Light" panose="020B0502040204020203" pitchFamily="34" charset="0"/>
              <a:cs typeface="Segoe UI Light" panose="020B0502040204020203" pitchFamily="34" charset="0"/>
            </a:endParaRPr>
          </a:p>
        </p:txBody>
      </p:sp>
      <p:graphicFrame>
        <p:nvGraphicFramePr>
          <p:cNvPr id="9" name="object 10"/>
          <p:cNvGraphicFramePr>
            <a:graphicFrameLocks noGrp="1"/>
          </p:cNvGraphicFramePr>
          <p:nvPr>
            <p:extLst/>
          </p:nvPr>
        </p:nvGraphicFramePr>
        <p:xfrm>
          <a:off x="3272305" y="1579179"/>
          <a:ext cx="5718507" cy="2454308"/>
        </p:xfrm>
        <a:graphic>
          <a:graphicData uri="http://schemas.openxmlformats.org/drawingml/2006/table">
            <a:tbl>
              <a:tblPr firstRow="1" bandRow="1">
                <a:tableStyleId>{2D5ABB26-0587-4C30-8999-92F81FD0307C}</a:tableStyleId>
              </a:tblPr>
              <a:tblGrid>
                <a:gridCol w="2864083">
                  <a:extLst>
                    <a:ext uri="{9D8B030D-6E8A-4147-A177-3AD203B41FA5}">
                      <a16:colId xmlns:a16="http://schemas.microsoft.com/office/drawing/2014/main" val="20000"/>
                    </a:ext>
                  </a:extLst>
                </a:gridCol>
                <a:gridCol w="2854424">
                  <a:extLst>
                    <a:ext uri="{9D8B030D-6E8A-4147-A177-3AD203B41FA5}">
                      <a16:colId xmlns:a16="http://schemas.microsoft.com/office/drawing/2014/main" val="20001"/>
                    </a:ext>
                  </a:extLst>
                </a:gridCol>
              </a:tblGrid>
              <a:tr h="474388">
                <a:tc>
                  <a:txBody>
                    <a:bodyPr/>
                    <a:lstStyle/>
                    <a:p>
                      <a:pPr marL="500380">
                        <a:lnSpc>
                          <a:spcPct val="100000"/>
                        </a:lnSpc>
                        <a:spcBef>
                          <a:spcPts val="650"/>
                        </a:spcBef>
                      </a:pPr>
                      <a:r>
                        <a:rPr sz="2400" b="0" dirty="0">
                          <a:latin typeface="Calibri" panose="020F0502020204030204" pitchFamily="34" charset="0"/>
                          <a:cs typeface="Segoe UI Light"/>
                        </a:rPr>
                        <a:t>Size in </a:t>
                      </a:r>
                      <a:r>
                        <a:rPr sz="2400" b="0" spc="5" dirty="0">
                          <a:latin typeface="Calibri" panose="020F0502020204030204" pitchFamily="34" charset="0"/>
                          <a:cs typeface="Segoe UI Light"/>
                        </a:rPr>
                        <a:t>feet</a:t>
                      </a:r>
                      <a:r>
                        <a:rPr sz="2400" b="0" spc="7" baseline="21021" dirty="0">
                          <a:latin typeface="Calibri" panose="020F0502020204030204" pitchFamily="34" charset="0"/>
                          <a:cs typeface="Segoe UI Light"/>
                        </a:rPr>
                        <a:t>2</a:t>
                      </a:r>
                      <a:r>
                        <a:rPr sz="2400" b="0" spc="179" baseline="21021" dirty="0">
                          <a:latin typeface="Calibri" panose="020F0502020204030204" pitchFamily="34" charset="0"/>
                          <a:cs typeface="Segoe UI Light"/>
                        </a:rPr>
                        <a:t> </a:t>
                      </a:r>
                      <a:r>
                        <a:rPr sz="2400" b="0" dirty="0">
                          <a:latin typeface="Calibri" panose="020F0502020204030204" pitchFamily="34" charset="0"/>
                          <a:cs typeface="Segoe UI Light"/>
                        </a:rPr>
                        <a:t>(x)</a:t>
                      </a:r>
                      <a:endParaRPr sz="2400" dirty="0">
                        <a:latin typeface="Calibri" panose="020F0502020204030204" pitchFamily="34" charset="0"/>
                        <a:cs typeface="Segoe UI Light"/>
                      </a:endParaRPr>
                    </a:p>
                  </a:txBody>
                  <a:tcPr marL="0" marR="0" marT="0" marB="0">
                    <a:lnL w="12700" cap="flat" cmpd="sng" algn="ctr">
                      <a:solidFill>
                        <a:schemeClr val="tx1"/>
                      </a:solidFill>
                      <a:prstDash val="solid"/>
                      <a:round/>
                      <a:headEnd type="none" w="med" len="med"/>
                      <a:tailEnd type="none" w="med" len="med"/>
                    </a:lnL>
                    <a:lnR w="12700">
                      <a:solidFill>
                        <a:srgbClr val="000000"/>
                      </a:solidFill>
                      <a:prstDash val="solid"/>
                    </a:lnR>
                    <a:lnT w="12700" cap="flat" cmpd="sng" algn="ctr">
                      <a:solidFill>
                        <a:schemeClr val="tx1"/>
                      </a:solidFill>
                      <a:prstDash val="solid"/>
                      <a:round/>
                      <a:headEnd type="none" w="med" len="med"/>
                      <a:tailEnd type="none" w="med" len="med"/>
                    </a:lnT>
                    <a:lnB w="12700">
                      <a:solidFill>
                        <a:srgbClr val="000000"/>
                      </a:solidFill>
                      <a:prstDash val="solid"/>
                    </a:lnB>
                  </a:tcPr>
                </a:tc>
                <a:tc>
                  <a:txBody>
                    <a:bodyPr/>
                    <a:lstStyle/>
                    <a:p>
                      <a:pPr algn="ctr">
                        <a:lnSpc>
                          <a:spcPct val="100000"/>
                        </a:lnSpc>
                        <a:spcBef>
                          <a:spcPts val="650"/>
                        </a:spcBef>
                      </a:pPr>
                      <a:r>
                        <a:rPr sz="2400" b="0" dirty="0">
                          <a:latin typeface="Calibri" panose="020F0502020204030204" pitchFamily="34" charset="0"/>
                          <a:cs typeface="Segoe UI Light"/>
                        </a:rPr>
                        <a:t>Price ($) in </a:t>
                      </a:r>
                      <a:r>
                        <a:rPr sz="2400" b="0" spc="55" dirty="0">
                          <a:latin typeface="Calibri" panose="020F0502020204030204" pitchFamily="34" charset="0"/>
                          <a:cs typeface="Segoe UI Light"/>
                        </a:rPr>
                        <a:t>1000's</a:t>
                      </a:r>
                      <a:r>
                        <a:rPr sz="2400" b="0" spc="-155" dirty="0">
                          <a:latin typeface="Calibri" panose="020F0502020204030204" pitchFamily="34" charset="0"/>
                          <a:cs typeface="Segoe UI Light"/>
                        </a:rPr>
                        <a:t> </a:t>
                      </a:r>
                      <a:r>
                        <a:rPr sz="2400" b="0" spc="15" dirty="0">
                          <a:latin typeface="Calibri" panose="020F0502020204030204" pitchFamily="34" charset="0"/>
                          <a:cs typeface="Segoe UI Light"/>
                        </a:rPr>
                        <a:t>(y)</a:t>
                      </a:r>
                      <a:endParaRPr sz="2400">
                        <a:latin typeface="Calibri" panose="020F0502020204030204" pitchFamily="34" charset="0"/>
                        <a:cs typeface="Segoe UI Light"/>
                      </a:endParaRPr>
                    </a:p>
                  </a:txBody>
                  <a:tcPr marL="0" marR="0" marT="0" marB="0">
                    <a:lnL w="12700">
                      <a:solidFill>
                        <a:srgbClr val="000000"/>
                      </a:solid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rgbClr val="000000"/>
                      </a:solidFill>
                      <a:prstDash val="solid"/>
                    </a:lnB>
                  </a:tcPr>
                </a:tc>
                <a:extLst>
                  <a:ext uri="{0D108BD9-81ED-4DB2-BD59-A6C34878D82A}">
                    <a16:rowId xmlns:a16="http://schemas.microsoft.com/office/drawing/2014/main" val="10000"/>
                  </a:ext>
                </a:extLst>
              </a:tr>
              <a:tr h="429081">
                <a:tc>
                  <a:txBody>
                    <a:bodyPr/>
                    <a:lstStyle/>
                    <a:p>
                      <a:pPr>
                        <a:lnSpc>
                          <a:spcPct val="100000"/>
                        </a:lnSpc>
                        <a:spcBef>
                          <a:spcPts val="400"/>
                        </a:spcBef>
                        <a:tabLst>
                          <a:tab pos="1228725" algn="l"/>
                        </a:tabLst>
                      </a:pPr>
                      <a:r>
                        <a:rPr lang="nl-NL" sz="2400" b="0" spc="-7" baseline="-21825" dirty="0">
                          <a:latin typeface="Calibri" panose="020F0502020204030204" pitchFamily="34" charset="0"/>
                          <a:cs typeface="Segoe UI Light"/>
                        </a:rPr>
                        <a:t> </a:t>
                      </a:r>
                      <a:r>
                        <a:rPr lang="nl-NL" sz="2400" b="0" spc="-7" baseline="0" dirty="0">
                          <a:latin typeface="Calibri" panose="020F0502020204030204" pitchFamily="34" charset="0"/>
                          <a:cs typeface="Segoe UI Light"/>
                        </a:rPr>
                        <a:t>                </a:t>
                      </a:r>
                      <a:r>
                        <a:rPr sz="2400" b="0" spc="90" dirty="0">
                          <a:latin typeface="Calibri" panose="020F0502020204030204" pitchFamily="34" charset="0"/>
                          <a:cs typeface="Segoe UI Light"/>
                        </a:rPr>
                        <a:t>2104</a:t>
                      </a:r>
                      <a:endParaRPr sz="2400" dirty="0">
                        <a:latin typeface="Calibri" panose="020F0502020204030204" pitchFamily="34" charset="0"/>
                        <a:cs typeface="Segoe UI Light"/>
                      </a:endParaRPr>
                    </a:p>
                  </a:txBody>
                  <a:tcPr marL="0" marR="0" marT="0" marB="0">
                    <a:lnL w="12700" cap="flat" cmpd="sng" algn="ctr">
                      <a:solidFill>
                        <a:schemeClr val="tx1"/>
                      </a:solidFill>
                      <a:prstDash val="solid"/>
                      <a:round/>
                      <a:headEnd type="none" w="med" len="med"/>
                      <a:tailEnd type="none" w="med" len="med"/>
                    </a:lnL>
                    <a:lnR w="12700">
                      <a:solidFill>
                        <a:srgbClr val="000000"/>
                      </a:solidFill>
                      <a:prstDash val="solid"/>
                    </a:lnR>
                    <a:lnT w="12700">
                      <a:solidFill>
                        <a:srgbClr val="000000"/>
                      </a:solidFill>
                      <a:prstDash val="solid"/>
                    </a:lnT>
                  </a:tcPr>
                </a:tc>
                <a:tc>
                  <a:txBody>
                    <a:bodyPr/>
                    <a:lstStyle/>
                    <a:p>
                      <a:pPr algn="ctr">
                        <a:lnSpc>
                          <a:spcPct val="100000"/>
                        </a:lnSpc>
                        <a:spcBef>
                          <a:spcPts val="400"/>
                        </a:spcBef>
                      </a:pPr>
                      <a:r>
                        <a:rPr sz="2400" b="0" spc="-25" dirty="0">
                          <a:latin typeface="Calibri" panose="020F0502020204030204" pitchFamily="34" charset="0"/>
                          <a:cs typeface="Segoe UI Light"/>
                        </a:rPr>
                        <a:t>460</a:t>
                      </a:r>
                      <a:endParaRPr sz="2400" dirty="0">
                        <a:latin typeface="Calibri" panose="020F0502020204030204" pitchFamily="34" charset="0"/>
                        <a:cs typeface="Segoe UI Light"/>
                      </a:endParaRPr>
                    </a:p>
                  </a:txBody>
                  <a:tcPr marL="0" marR="0" marT="0" marB="0">
                    <a:lnL w="12700">
                      <a:solidFill>
                        <a:srgbClr val="000000"/>
                      </a:solidFill>
                      <a:prstDash val="solid"/>
                    </a:lnL>
                    <a:lnR w="12700" cap="flat" cmpd="sng" algn="ctr">
                      <a:solidFill>
                        <a:schemeClr val="tx1"/>
                      </a:solidFill>
                      <a:prstDash val="solid"/>
                      <a:round/>
                      <a:headEnd type="none" w="med" len="med"/>
                      <a:tailEnd type="none" w="med" len="med"/>
                    </a:lnR>
                    <a:lnT w="12700">
                      <a:solidFill>
                        <a:srgbClr val="000000"/>
                      </a:solidFill>
                      <a:prstDash val="solid"/>
                    </a:lnT>
                  </a:tcPr>
                </a:tc>
                <a:extLst>
                  <a:ext uri="{0D108BD9-81ED-4DB2-BD59-A6C34878D82A}">
                    <a16:rowId xmlns:a16="http://schemas.microsoft.com/office/drawing/2014/main" val="10001"/>
                  </a:ext>
                </a:extLst>
              </a:tr>
              <a:tr h="387613">
                <a:tc>
                  <a:txBody>
                    <a:bodyPr/>
                    <a:lstStyle/>
                    <a:p>
                      <a:pPr marL="7620" algn="ctr">
                        <a:lnSpc>
                          <a:spcPct val="100000"/>
                        </a:lnSpc>
                        <a:spcBef>
                          <a:spcPts val="30"/>
                        </a:spcBef>
                      </a:pPr>
                      <a:r>
                        <a:rPr sz="2400" b="0" spc="200" dirty="0">
                          <a:latin typeface="Calibri" panose="020F0502020204030204" pitchFamily="34" charset="0"/>
                          <a:cs typeface="Segoe UI Light"/>
                        </a:rPr>
                        <a:t>1416</a:t>
                      </a:r>
                      <a:endParaRPr sz="2400" dirty="0">
                        <a:latin typeface="Calibri" panose="020F0502020204030204" pitchFamily="34" charset="0"/>
                        <a:cs typeface="Segoe UI Light"/>
                      </a:endParaRPr>
                    </a:p>
                  </a:txBody>
                  <a:tcPr marL="0" marR="0" marT="0" marB="0">
                    <a:lnL w="12700" cap="flat" cmpd="sng" algn="ctr">
                      <a:solidFill>
                        <a:schemeClr val="tx1"/>
                      </a:solidFill>
                      <a:prstDash val="solid"/>
                      <a:round/>
                      <a:headEnd type="none" w="med" len="med"/>
                      <a:tailEnd type="none" w="med" len="med"/>
                    </a:lnL>
                    <a:lnR w="12700">
                      <a:solidFill>
                        <a:srgbClr val="000000"/>
                      </a:solidFill>
                      <a:prstDash val="solid"/>
                    </a:lnR>
                  </a:tcPr>
                </a:tc>
                <a:tc>
                  <a:txBody>
                    <a:bodyPr/>
                    <a:lstStyle/>
                    <a:p>
                      <a:pPr algn="ctr">
                        <a:lnSpc>
                          <a:spcPct val="100000"/>
                        </a:lnSpc>
                        <a:spcBef>
                          <a:spcPts val="30"/>
                        </a:spcBef>
                      </a:pPr>
                      <a:r>
                        <a:rPr sz="2400" b="0" spc="-10" dirty="0">
                          <a:latin typeface="Calibri" panose="020F0502020204030204" pitchFamily="34" charset="0"/>
                          <a:cs typeface="Segoe UI Light"/>
                        </a:rPr>
                        <a:t>232</a:t>
                      </a:r>
                      <a:endParaRPr sz="2400" dirty="0">
                        <a:latin typeface="Calibri" panose="020F0502020204030204" pitchFamily="34" charset="0"/>
                        <a:cs typeface="Segoe UI Light"/>
                      </a:endParaRPr>
                    </a:p>
                  </a:txBody>
                  <a:tcPr marL="0" marR="0" marT="0" marB="0">
                    <a:lnL w="12700">
                      <a:solidFill>
                        <a:srgbClr val="000000"/>
                      </a:solidFill>
                      <a:prstDash val="soli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387369">
                <a:tc>
                  <a:txBody>
                    <a:bodyPr/>
                    <a:lstStyle/>
                    <a:p>
                      <a:pPr marL="7620" algn="ctr">
                        <a:lnSpc>
                          <a:spcPct val="100000"/>
                        </a:lnSpc>
                        <a:spcBef>
                          <a:spcPts val="30"/>
                        </a:spcBef>
                      </a:pPr>
                      <a:r>
                        <a:rPr sz="2400" b="0" spc="90" dirty="0">
                          <a:latin typeface="Calibri" panose="020F0502020204030204" pitchFamily="34" charset="0"/>
                          <a:cs typeface="Segoe UI Light"/>
                        </a:rPr>
                        <a:t>1534</a:t>
                      </a:r>
                      <a:endParaRPr sz="2400">
                        <a:latin typeface="Calibri" panose="020F0502020204030204" pitchFamily="34" charset="0"/>
                        <a:cs typeface="Segoe UI Light"/>
                      </a:endParaRPr>
                    </a:p>
                  </a:txBody>
                  <a:tcPr marL="0" marR="0" marT="0" marB="0">
                    <a:lnL w="12700" cap="flat" cmpd="sng" algn="ctr">
                      <a:solidFill>
                        <a:schemeClr val="tx1"/>
                      </a:solidFill>
                      <a:prstDash val="solid"/>
                      <a:round/>
                      <a:headEnd type="none" w="med" len="med"/>
                      <a:tailEnd type="none" w="med" len="med"/>
                    </a:lnL>
                    <a:lnR w="12700">
                      <a:solidFill>
                        <a:srgbClr val="000000"/>
                      </a:solidFill>
                      <a:prstDash val="solid"/>
                    </a:lnR>
                  </a:tcPr>
                </a:tc>
                <a:tc>
                  <a:txBody>
                    <a:bodyPr/>
                    <a:lstStyle/>
                    <a:p>
                      <a:pPr algn="ctr">
                        <a:lnSpc>
                          <a:spcPct val="100000"/>
                        </a:lnSpc>
                        <a:spcBef>
                          <a:spcPts val="30"/>
                        </a:spcBef>
                      </a:pPr>
                      <a:r>
                        <a:rPr sz="2400" b="0" spc="140" dirty="0">
                          <a:latin typeface="Calibri" panose="020F0502020204030204" pitchFamily="34" charset="0"/>
                          <a:cs typeface="Segoe UI Light"/>
                        </a:rPr>
                        <a:t>315</a:t>
                      </a:r>
                      <a:endParaRPr sz="2400" dirty="0">
                        <a:latin typeface="Calibri" panose="020F0502020204030204" pitchFamily="34" charset="0"/>
                        <a:cs typeface="Segoe UI Light"/>
                      </a:endParaRPr>
                    </a:p>
                  </a:txBody>
                  <a:tcPr marL="0" marR="0" marT="0" marB="0">
                    <a:lnL w="12700">
                      <a:solidFill>
                        <a:srgbClr val="000000"/>
                      </a:solidFill>
                      <a:prstDash val="soli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369457">
                <a:tc>
                  <a:txBody>
                    <a:bodyPr/>
                    <a:lstStyle/>
                    <a:p>
                      <a:pPr marL="6985" algn="ctr">
                        <a:lnSpc>
                          <a:spcPct val="100000"/>
                        </a:lnSpc>
                        <a:spcBef>
                          <a:spcPts val="30"/>
                        </a:spcBef>
                      </a:pPr>
                      <a:r>
                        <a:rPr sz="2400" b="0" spc="-10" dirty="0">
                          <a:latin typeface="Calibri" panose="020F0502020204030204" pitchFamily="34" charset="0"/>
                          <a:cs typeface="Segoe UI Light"/>
                        </a:rPr>
                        <a:t>852</a:t>
                      </a:r>
                      <a:endParaRPr sz="2400" dirty="0">
                        <a:latin typeface="Calibri" panose="020F0502020204030204" pitchFamily="34" charset="0"/>
                        <a:cs typeface="Segoe UI Light"/>
                      </a:endParaRPr>
                    </a:p>
                  </a:txBody>
                  <a:tcPr marL="0" marR="0" marT="0" marB="0">
                    <a:lnL w="12700" cap="flat" cmpd="sng" algn="ctr">
                      <a:solidFill>
                        <a:schemeClr val="tx1"/>
                      </a:solidFill>
                      <a:prstDash val="solid"/>
                      <a:round/>
                      <a:headEnd type="none" w="med" len="med"/>
                      <a:tailEnd type="none" w="med" len="med"/>
                    </a:lnL>
                    <a:lnR w="12700">
                      <a:solidFill>
                        <a:srgbClr val="000000"/>
                      </a:solidFill>
                      <a:prstDash val="solid"/>
                    </a:lnR>
                  </a:tcPr>
                </a:tc>
                <a:tc>
                  <a:txBody>
                    <a:bodyPr/>
                    <a:lstStyle/>
                    <a:p>
                      <a:pPr algn="ctr">
                        <a:lnSpc>
                          <a:spcPct val="100000"/>
                        </a:lnSpc>
                        <a:spcBef>
                          <a:spcPts val="30"/>
                        </a:spcBef>
                      </a:pPr>
                      <a:r>
                        <a:rPr sz="2400" b="0" spc="155" dirty="0">
                          <a:latin typeface="Calibri" panose="020F0502020204030204" pitchFamily="34" charset="0"/>
                          <a:cs typeface="Segoe UI Light"/>
                        </a:rPr>
                        <a:t>178</a:t>
                      </a:r>
                      <a:endParaRPr sz="2400" dirty="0">
                        <a:latin typeface="Calibri" panose="020F0502020204030204" pitchFamily="34" charset="0"/>
                        <a:cs typeface="Segoe UI Light"/>
                      </a:endParaRPr>
                    </a:p>
                  </a:txBody>
                  <a:tcPr marL="0" marR="0" marT="0" marB="0">
                    <a:lnL w="12700">
                      <a:solidFill>
                        <a:srgbClr val="000000"/>
                      </a:solidFill>
                      <a:prstDash val="soli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405649">
                <a:tc>
                  <a:txBody>
                    <a:bodyPr/>
                    <a:lstStyle/>
                    <a:p>
                      <a:pPr marL="5080" algn="ctr">
                        <a:lnSpc>
                          <a:spcPts val="3210"/>
                        </a:lnSpc>
                      </a:pPr>
                      <a:r>
                        <a:rPr sz="2400" dirty="0">
                          <a:latin typeface="Calibri" panose="020F0502020204030204" pitchFamily="34" charset="0"/>
                          <a:cs typeface="Microsoft Uighur"/>
                        </a:rPr>
                        <a:t>…</a:t>
                      </a:r>
                    </a:p>
                  </a:txBody>
                  <a:tcPr marL="0" marR="0" marT="0" marB="0">
                    <a:lnL w="12700" cap="flat" cmpd="sng" algn="ctr">
                      <a:solidFill>
                        <a:schemeClr val="tx1"/>
                      </a:solidFill>
                      <a:prstDash val="solid"/>
                      <a:round/>
                      <a:headEnd type="none" w="med" len="med"/>
                      <a:tailEnd type="none" w="med" len="med"/>
                    </a:lnL>
                    <a:lnR w="12700">
                      <a:solidFill>
                        <a:srgbClr val="000000"/>
                      </a:solidFill>
                      <a:prstDash val="solid"/>
                    </a:lnR>
                    <a:lnB w="12700" cap="flat" cmpd="sng" algn="ctr">
                      <a:solidFill>
                        <a:schemeClr val="tx1"/>
                      </a:solidFill>
                      <a:prstDash val="solid"/>
                      <a:round/>
                      <a:headEnd type="none" w="med" len="med"/>
                      <a:tailEnd type="none" w="med" len="med"/>
                    </a:lnB>
                  </a:tcPr>
                </a:tc>
                <a:tc>
                  <a:txBody>
                    <a:bodyPr/>
                    <a:lstStyle/>
                    <a:p>
                      <a:pPr algn="ctr">
                        <a:lnSpc>
                          <a:spcPts val="3210"/>
                        </a:lnSpc>
                      </a:pPr>
                      <a:r>
                        <a:rPr sz="2400" dirty="0">
                          <a:latin typeface="Calibri" panose="020F0502020204030204" pitchFamily="34" charset="0"/>
                          <a:cs typeface="Microsoft Uighur"/>
                        </a:rPr>
                        <a:t>…</a:t>
                      </a:r>
                    </a:p>
                  </a:txBody>
                  <a:tcPr marL="0" marR="0" marT="0" marB="0">
                    <a:lnL w="12700">
                      <a:solidFill>
                        <a:srgbClr val="000000"/>
                      </a:solidFill>
                      <a:prstDash val="soli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0" name="TextBox 9"/>
          <p:cNvSpPr txBox="1"/>
          <p:nvPr/>
        </p:nvSpPr>
        <p:spPr>
          <a:xfrm>
            <a:off x="2743860" y="2055979"/>
            <a:ext cx="553357" cy="1573059"/>
          </a:xfrm>
          <a:prstGeom prst="rect">
            <a:avLst/>
          </a:prstGeom>
          <a:noFill/>
        </p:spPr>
        <p:txBody>
          <a:bodyPr vert="vert270"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Training Set</a:t>
            </a:r>
          </a:p>
        </p:txBody>
      </p:sp>
      <p:sp>
        <p:nvSpPr>
          <p:cNvPr id="11" name="TextBox 10"/>
          <p:cNvSpPr txBox="1"/>
          <p:nvPr/>
        </p:nvSpPr>
        <p:spPr>
          <a:xfrm>
            <a:off x="2449452" y="4627495"/>
            <a:ext cx="1694763" cy="460812"/>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Hypothesis</a:t>
            </a:r>
            <a:r>
              <a:rPr lang="en-US" sz="1797" dirty="0">
                <a:solidFill>
                  <a:srgbClr val="000000"/>
                </a:solidFill>
                <a:latin typeface="Segoe UI Light" panose="020B0502040204020203" pitchFamily="34" charset="0"/>
                <a:cs typeface="Segoe UI Light" panose="020B0502040204020203" pitchFamily="34" charset="0"/>
              </a:rPr>
              <a:t>: </a:t>
            </a:r>
          </a:p>
        </p:txBody>
      </p:sp>
      <p:sp>
        <p:nvSpPr>
          <p:cNvPr id="13" name="object 8"/>
          <p:cNvSpPr/>
          <p:nvPr/>
        </p:nvSpPr>
        <p:spPr>
          <a:xfrm>
            <a:off x="4053398" y="4609437"/>
            <a:ext cx="3416230" cy="496928"/>
          </a:xfrm>
          <a:prstGeom prst="rect">
            <a:avLst/>
          </a:prstGeom>
          <a:blipFill>
            <a:blip r:embed="rId3" cstate="print"/>
            <a:stretch>
              <a:fillRect/>
            </a:stretch>
          </a:blipFill>
        </p:spPr>
        <p:txBody>
          <a:bodyPr wrap="square" lIns="0" tIns="0" rIns="0" bIns="0" rtlCol="0"/>
          <a:lstStyle/>
          <a:p>
            <a:pPr defTabSz="912754"/>
            <a:endParaRPr sz="1797">
              <a:solidFill>
                <a:srgbClr val="000000"/>
              </a:solidFill>
              <a:latin typeface="Segoe UI Light" panose="020B0502040204020203" pitchFamily="34" charset="0"/>
              <a:cs typeface="Segoe UI Light" panose="020B0502040204020203" pitchFamily="34" charset="0"/>
            </a:endParaRPr>
          </a:p>
        </p:txBody>
      </p:sp>
      <p:sp>
        <p:nvSpPr>
          <p:cNvPr id="14" name="object 11"/>
          <p:cNvSpPr/>
          <p:nvPr/>
        </p:nvSpPr>
        <p:spPr>
          <a:xfrm>
            <a:off x="3062381" y="5232434"/>
            <a:ext cx="419847" cy="368649"/>
          </a:xfrm>
          <a:prstGeom prst="rect">
            <a:avLst/>
          </a:prstGeom>
          <a:blipFill>
            <a:blip r:embed="rId4" cstate="print"/>
            <a:stretch>
              <a:fillRect/>
            </a:stretch>
          </a:blipFill>
        </p:spPr>
        <p:txBody>
          <a:bodyPr wrap="square" lIns="0" tIns="0" rIns="0" bIns="0" rtlCol="0"/>
          <a:lstStyle/>
          <a:p>
            <a:pPr defTabSz="912754"/>
            <a:endParaRPr sz="1797" dirty="0">
              <a:solidFill>
                <a:srgbClr val="000000"/>
              </a:solidFill>
              <a:latin typeface="Segoe UI Light" panose="020B0502040204020203" pitchFamily="34" charset="0"/>
              <a:cs typeface="Segoe UI Light" panose="020B0502040204020203" pitchFamily="34" charset="0"/>
            </a:endParaRPr>
          </a:p>
        </p:txBody>
      </p:sp>
      <p:sp>
        <p:nvSpPr>
          <p:cNvPr id="15" name="TextBox 14"/>
          <p:cNvSpPr txBox="1"/>
          <p:nvPr/>
        </p:nvSpPr>
        <p:spPr>
          <a:xfrm>
            <a:off x="3482228" y="5152058"/>
            <a:ext cx="1933804" cy="460812"/>
          </a:xfrm>
          <a:prstGeom prst="rect">
            <a:avLst/>
          </a:prstGeom>
          <a:noFill/>
        </p:spPr>
        <p:txBody>
          <a:bodyPr wrap="squar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s: Parameters</a:t>
            </a:r>
          </a:p>
        </p:txBody>
      </p:sp>
      <p:pic>
        <p:nvPicPr>
          <p:cNvPr id="17" name="Picture 16"/>
          <p:cNvPicPr>
            <a:picLocks noChangeAspect="1"/>
          </p:cNvPicPr>
          <p:nvPr/>
        </p:nvPicPr>
        <p:blipFill>
          <a:blip r:embed="rId5"/>
          <a:stretch>
            <a:fillRect/>
          </a:stretch>
        </p:blipFill>
        <p:spPr>
          <a:xfrm>
            <a:off x="4489464" y="5581312"/>
            <a:ext cx="419882" cy="535502"/>
          </a:xfrm>
          <a:prstGeom prst="rect">
            <a:avLst/>
          </a:prstGeom>
        </p:spPr>
      </p:pic>
      <p:sp>
        <p:nvSpPr>
          <p:cNvPr id="18" name="TextBox 17"/>
          <p:cNvSpPr txBox="1"/>
          <p:nvPr/>
        </p:nvSpPr>
        <p:spPr>
          <a:xfrm>
            <a:off x="4870041" y="5552181"/>
            <a:ext cx="654097" cy="460812"/>
          </a:xfrm>
          <a:prstGeom prst="rect">
            <a:avLst/>
          </a:prstGeom>
          <a:noFill/>
        </p:spPr>
        <p:txBody>
          <a:bodyPr wrap="none" rtlCol="0">
            <a:spAutoFit/>
          </a:bodyPr>
          <a:lstStyle/>
          <a:p>
            <a:pPr defTabSz="912754"/>
            <a:r>
              <a:rPr lang="en-US" sz="2396" dirty="0">
                <a:solidFill>
                  <a:srgbClr val="000000"/>
                </a:solidFill>
                <a:latin typeface="Segoe UI Light" panose="020B0502040204020203" pitchFamily="34" charset="0"/>
                <a:cs typeface="Segoe UI Light" panose="020B0502040204020203" pitchFamily="34" charset="0"/>
              </a:rPr>
              <a:t>‘s ? </a:t>
            </a:r>
          </a:p>
        </p:txBody>
      </p:sp>
      <p:sp>
        <p:nvSpPr>
          <p:cNvPr id="2" name="Slide Number Placeholder 1"/>
          <p:cNvSpPr>
            <a:spLocks noGrp="1"/>
          </p:cNvSpPr>
          <p:nvPr>
            <p:ph type="sldNum" sz="quarter" idx="12"/>
          </p:nvPr>
        </p:nvSpPr>
        <p:spPr/>
        <p:txBody>
          <a:bodyPr/>
          <a:lstStyle/>
          <a:p>
            <a:fld id="{3847DB54-D037-B84F-B6F1-2E8DA40D09AD}" type="slidenum">
              <a:rPr lang="en-US" smtClean="0"/>
              <a:pPr/>
              <a:t>9</a:t>
            </a:fld>
            <a:endParaRPr lang="en-US"/>
          </a:p>
        </p:txBody>
      </p:sp>
    </p:spTree>
    <p:extLst>
      <p:ext uri="{BB962C8B-B14F-4D97-AF65-F5344CB8AC3E}">
        <p14:creationId xmlns:p14="http://schemas.microsoft.com/office/powerpoint/2010/main" val="42383370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dGnFwSWFUmzcQlqMWaS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7uASladr0mInFFyXCcn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DERYHhq60.CiA7Wn33u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BZ5s.yaXEmMuCYURaRx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vanade_Aurora">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BC5EAA7E-6E4E-460E-96F2-8D4B7AB91738}"/>
    </a:ext>
  </a:extLst>
</a:theme>
</file>

<file path=ppt/theme/theme10.xml><?xml version="1.0" encoding="utf-8"?>
<a:theme xmlns:a="http://schemas.openxmlformats.org/drawingml/2006/main" name="FY13_16by9_fullversion">
  <a:themeElements>
    <a:clrScheme name="Avanade">
      <a:dk1>
        <a:srgbClr val="000000"/>
      </a:dk1>
      <a:lt1>
        <a:srgbClr val="FFFFFF"/>
      </a:lt1>
      <a:dk2>
        <a:srgbClr val="FF5800"/>
      </a:dk2>
      <a:lt2>
        <a:srgbClr val="BCBDBC"/>
      </a:lt2>
      <a:accent1>
        <a:srgbClr val="009FDA"/>
      </a:accent1>
      <a:accent2>
        <a:srgbClr val="FDC82F"/>
      </a:accent2>
      <a:accent3>
        <a:srgbClr val="34B233"/>
      </a:accent3>
      <a:accent4>
        <a:srgbClr val="CF0072"/>
      </a:accent4>
      <a:accent5>
        <a:srgbClr val="747678"/>
      </a:accent5>
      <a:accent6>
        <a:srgbClr val="BCBDBC"/>
      </a:accent6>
      <a:hlink>
        <a:srgbClr val="FF5800"/>
      </a:hlink>
      <a:folHlink>
        <a:srgbClr val="FF58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FY13_ppt_complete">
  <a:themeElements>
    <a:clrScheme name="Custom 8">
      <a:dk1>
        <a:srgbClr val="005CB9"/>
      </a:dk1>
      <a:lt1>
        <a:srgbClr val="FFFFFF"/>
      </a:lt1>
      <a:dk2>
        <a:srgbClr val="464646"/>
      </a:dk2>
      <a:lt2>
        <a:srgbClr val="C8C8C8"/>
      </a:lt2>
      <a:accent1>
        <a:srgbClr val="FF5800"/>
      </a:accent1>
      <a:accent2>
        <a:srgbClr val="009FDA"/>
      </a:accent2>
      <a:accent3>
        <a:srgbClr val="34B233"/>
      </a:accent3>
      <a:accent4>
        <a:srgbClr val="9F26B5"/>
      </a:accent4>
      <a:accent5>
        <a:srgbClr val="FDC82F"/>
      </a:accent5>
      <a:accent6>
        <a:srgbClr val="008996"/>
      </a:accent6>
      <a:hlink>
        <a:srgbClr val="FF5800"/>
      </a:hlink>
      <a:folHlink>
        <a:srgbClr val="96969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FY13_16by9_fullversion">
  <a:themeElements>
    <a:clrScheme name="Avanade">
      <a:dk1>
        <a:srgbClr val="000000"/>
      </a:dk1>
      <a:lt1>
        <a:srgbClr val="FFFFFF"/>
      </a:lt1>
      <a:dk2>
        <a:srgbClr val="FF5800"/>
      </a:dk2>
      <a:lt2>
        <a:srgbClr val="BCBDBC"/>
      </a:lt2>
      <a:accent1>
        <a:srgbClr val="009FDA"/>
      </a:accent1>
      <a:accent2>
        <a:srgbClr val="FDC82F"/>
      </a:accent2>
      <a:accent3>
        <a:srgbClr val="34B233"/>
      </a:accent3>
      <a:accent4>
        <a:srgbClr val="CF0072"/>
      </a:accent4>
      <a:accent5>
        <a:srgbClr val="747678"/>
      </a:accent5>
      <a:accent6>
        <a:srgbClr val="BCBDBC"/>
      </a:accent6>
      <a:hlink>
        <a:srgbClr val="FF5800"/>
      </a:hlink>
      <a:folHlink>
        <a:srgbClr val="FF58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FY13_16by9_fullversion">
  <a:themeElements>
    <a:clrScheme name="Avanade">
      <a:dk1>
        <a:srgbClr val="000000"/>
      </a:dk1>
      <a:lt1>
        <a:srgbClr val="FFFFFF"/>
      </a:lt1>
      <a:dk2>
        <a:srgbClr val="FF5800"/>
      </a:dk2>
      <a:lt2>
        <a:srgbClr val="BCBDBC"/>
      </a:lt2>
      <a:accent1>
        <a:srgbClr val="009FDA"/>
      </a:accent1>
      <a:accent2>
        <a:srgbClr val="FDC82F"/>
      </a:accent2>
      <a:accent3>
        <a:srgbClr val="34B233"/>
      </a:accent3>
      <a:accent4>
        <a:srgbClr val="CF0072"/>
      </a:accent4>
      <a:accent5>
        <a:srgbClr val="747678"/>
      </a:accent5>
      <a:accent6>
        <a:srgbClr val="BCBDBC"/>
      </a:accent6>
      <a:hlink>
        <a:srgbClr val="FF5800"/>
      </a:hlink>
      <a:folHlink>
        <a:srgbClr val="FF58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tailEnd type="triangle" w="lg" len="lg"/>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58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111C24"/>
        </a:dk1>
        <a:lt1>
          <a:srgbClr val="FFFFFF"/>
        </a:lt1>
        <a:dk2>
          <a:srgbClr val="FF5800"/>
        </a:dk2>
        <a:lt2>
          <a:srgbClr val="BCBDBC"/>
        </a:lt2>
        <a:accent1>
          <a:srgbClr val="009FDA"/>
        </a:accent1>
        <a:accent2>
          <a:srgbClr val="FDC82F"/>
        </a:accent2>
        <a:accent3>
          <a:srgbClr val="FFFFFF"/>
        </a:accent3>
        <a:accent4>
          <a:srgbClr val="0D161D"/>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5">
        <a:dk1>
          <a:srgbClr val="747678"/>
        </a:dk1>
        <a:lt1>
          <a:srgbClr val="FFFFFF"/>
        </a:lt1>
        <a:dk2>
          <a:srgbClr val="FF5800"/>
        </a:dk2>
        <a:lt2>
          <a:srgbClr val="BCBDBC"/>
        </a:lt2>
        <a:accent1>
          <a:srgbClr val="009FDA"/>
        </a:accent1>
        <a:accent2>
          <a:srgbClr val="FDC82F"/>
        </a:accent2>
        <a:accent3>
          <a:srgbClr val="FFFFFF"/>
        </a:accent3>
        <a:accent4>
          <a:srgbClr val="626465"/>
        </a:accent4>
        <a:accent5>
          <a:srgbClr val="AACDEA"/>
        </a:accent5>
        <a:accent6>
          <a:srgbClr val="E5B52A"/>
        </a:accent6>
        <a:hlink>
          <a:srgbClr val="CF0072"/>
        </a:hlink>
        <a:folHlink>
          <a:srgbClr val="34B233"/>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FF5800"/>
        </a:dk2>
        <a:lt2>
          <a:srgbClr val="009FDA"/>
        </a:lt2>
        <a:accent1>
          <a:srgbClr val="BCBDBC"/>
        </a:accent1>
        <a:accent2>
          <a:srgbClr val="FDC82F"/>
        </a:accent2>
        <a:accent3>
          <a:srgbClr val="FFFFFF"/>
        </a:accent3>
        <a:accent4>
          <a:srgbClr val="000000"/>
        </a:accent4>
        <a:accent5>
          <a:srgbClr val="DADBDA"/>
        </a:accent5>
        <a:accent6>
          <a:srgbClr val="E5B52A"/>
        </a:accent6>
        <a:hlink>
          <a:srgbClr val="FF5800"/>
        </a:hlink>
        <a:folHlink>
          <a:srgbClr val="FF58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urora Divider">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9BCED1C6-583B-482D-9D4B-9E2CDF8AD7D7}"/>
    </a:ext>
  </a:extLst>
</a:theme>
</file>

<file path=ppt/theme/theme3.xml><?xml version="1.0" encoding="utf-8"?>
<a:theme xmlns:a="http://schemas.openxmlformats.org/drawingml/2006/main" name="Highly 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5BEBE594-7E4F-4EDA-AB5D-1B1B13B08BF3}"/>
    </a:ext>
  </a:extLst>
</a:theme>
</file>

<file path=ppt/theme/theme4.xml><?xml version="1.0" encoding="utf-8"?>
<a:theme xmlns:a="http://schemas.openxmlformats.org/drawingml/2006/main" name="Confidential">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065E6F59-0526-4EC2-AD4B-FB702B90C229}"/>
    </a:ext>
  </a:extLst>
</a:theme>
</file>

<file path=ppt/theme/theme5.xml><?xml version="1.0" encoding="utf-8"?>
<a:theme xmlns:a="http://schemas.openxmlformats.org/drawingml/2006/main" name="Restricted">
  <a:themeElements>
    <a:clrScheme name="Avanade_Aurora">
      <a:dk1>
        <a:srgbClr val="595959"/>
      </a:dk1>
      <a:lt1>
        <a:sysClr val="window" lastClr="FFFFFF"/>
      </a:lt1>
      <a:dk2>
        <a:srgbClr val="FF5800"/>
      </a:dk2>
      <a:lt2>
        <a:srgbClr val="E7E6E6"/>
      </a:lt2>
      <a:accent1>
        <a:srgbClr val="CE056A"/>
      </a:accent1>
      <a:accent2>
        <a:srgbClr val="C80000"/>
      </a:accent2>
      <a:accent3>
        <a:srgbClr val="FFB414"/>
      </a:accent3>
      <a:accent4>
        <a:srgbClr val="47800A"/>
      </a:accent4>
      <a:accent5>
        <a:srgbClr val="008376"/>
      </a:accent5>
      <a:accent6>
        <a:srgbClr val="006EBD"/>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_Aurora.potx_Project05_SG01" id="{428A1B69-2E94-42AB-9A2F-DAFFDD04ABA4}" vid="{FAB72CE6-58D0-4859-BB78-F59E06750285}"/>
    </a:ext>
  </a:extLst>
</a:theme>
</file>

<file path=ppt/theme/theme6.xml><?xml version="1.0" encoding="utf-8"?>
<a:theme xmlns:a="http://schemas.openxmlformats.org/drawingml/2006/main" name="2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7.xml><?xml version="1.0" encoding="utf-8"?>
<a:theme xmlns:a="http://schemas.openxmlformats.org/drawingml/2006/main" name="16-0440_AccentureAnalytics_OverviewCreative_template_16-9">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8.xml><?xml version="1.0" encoding="utf-8"?>
<a:theme xmlns:a="http://schemas.openxmlformats.org/drawingml/2006/main" name="3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ppt/theme/theme9.xml><?xml version="1.0" encoding="utf-8"?>
<a:theme xmlns:a="http://schemas.openxmlformats.org/drawingml/2006/main" name="4_16-0029 3. Digital Operations (IoT) Sales Deck - Final">
  <a:themeElements>
    <a:clrScheme name="Avanade 2016">
      <a:dk1>
        <a:sysClr val="windowText" lastClr="000000"/>
      </a:dk1>
      <a:lt1>
        <a:sysClr val="window" lastClr="FFFFFF"/>
      </a:lt1>
      <a:dk2>
        <a:srgbClr val="747678"/>
      </a:dk2>
      <a:lt2>
        <a:srgbClr val="BCBDBC"/>
      </a:lt2>
      <a:accent1>
        <a:srgbClr val="FF5800"/>
      </a:accent1>
      <a:accent2>
        <a:srgbClr val="009FDA"/>
      </a:accent2>
      <a:accent3>
        <a:srgbClr val="34B233"/>
      </a:accent3>
      <a:accent4>
        <a:srgbClr val="CF0072"/>
      </a:accent4>
      <a:accent5>
        <a:srgbClr val="FDC82F"/>
      </a:accent5>
      <a:accent6>
        <a:srgbClr val="005CB9"/>
      </a:accent6>
      <a:hlink>
        <a:srgbClr val="FF5800"/>
      </a:hlink>
      <a:folHlink>
        <a:srgbClr val="9F26B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BusinessPPT_2016.pptx" id="{BBB5F7E7-18B9-4A39-8418-A5139F0691A0}" vid="{22FCD716-E47C-4F1D-824C-0D17618FA19D}"/>
    </a:ext>
  </a:extLst>
</a:theme>
</file>

<file path=docProps/app.xml><?xml version="1.0" encoding="utf-8"?>
<Properties xmlns="http://schemas.openxmlformats.org/officeDocument/2006/extended-properties" xmlns:vt="http://schemas.openxmlformats.org/officeDocument/2006/docPropsVTypes">
  <Template>Avanade_Aurora</Template>
  <TotalTime>2307</TotalTime>
  <Words>4064</Words>
  <Application>Microsoft Office PowerPoint</Application>
  <PresentationFormat>Widescreen</PresentationFormat>
  <Paragraphs>705</Paragraphs>
  <Slides>55</Slides>
  <Notes>37</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2</vt:i4>
      </vt:variant>
      <vt:variant>
        <vt:lpstr>Slide Titles</vt:lpstr>
      </vt:variant>
      <vt:variant>
        <vt:i4>55</vt:i4>
      </vt:variant>
    </vt:vector>
  </HeadingPairs>
  <TitlesOfParts>
    <vt:vector size="81" baseType="lpstr">
      <vt:lpstr>ＭＳ Ｐゴシック</vt:lpstr>
      <vt:lpstr>Arial</vt:lpstr>
      <vt:lpstr>Calibri</vt:lpstr>
      <vt:lpstr>Cambria Math</vt:lpstr>
      <vt:lpstr>Microsoft Uighur</vt:lpstr>
      <vt:lpstr>Segoe UI</vt:lpstr>
      <vt:lpstr>Segoe UI Light</vt:lpstr>
      <vt:lpstr>Segoe UI Symbol</vt:lpstr>
      <vt:lpstr>Symbol</vt:lpstr>
      <vt:lpstr>Times New Roman</vt:lpstr>
      <vt:lpstr>Wingdings</vt:lpstr>
      <vt:lpstr>Avanade_Aurora</vt:lpstr>
      <vt:lpstr>1_Aurora Divider</vt:lpstr>
      <vt:lpstr>Highly Confidential</vt:lpstr>
      <vt:lpstr>Confidential</vt:lpstr>
      <vt:lpstr>Restricted</vt:lpstr>
      <vt:lpstr>2_16-0029 3. Digital Operations (IoT) Sales Deck - Final</vt:lpstr>
      <vt:lpstr>16-0440_AccentureAnalytics_OverviewCreative_template_16-9</vt:lpstr>
      <vt:lpstr>3_16-0029 3. Digital Operations (IoT) Sales Deck - Final</vt:lpstr>
      <vt:lpstr>4_16-0029 3. Digital Operations (IoT) Sales Deck - Final</vt:lpstr>
      <vt:lpstr>FY13_16by9_fullversion</vt:lpstr>
      <vt:lpstr>2_FY13_ppt_complete</vt:lpstr>
      <vt:lpstr>7_FY13_16by9_fullversion</vt:lpstr>
      <vt:lpstr>6_FY13_16by9_fullversion</vt:lpstr>
      <vt:lpstr>think-cell Slide</vt:lpstr>
      <vt:lpstr>Equation</vt:lpstr>
      <vt:lpstr>PowerPoint Presentation</vt:lpstr>
      <vt:lpstr>Over the next 1.5 hours you will learn about…</vt:lpstr>
      <vt:lpstr>PowerPoint Presentation</vt:lpstr>
      <vt:lpstr>Mathematical and Statistical Ways for Machine Learning               Linear Regression </vt:lpstr>
      <vt:lpstr>Linear Regression</vt:lpstr>
      <vt:lpstr>Linear Regression     </vt:lpstr>
      <vt:lpstr>Training Set of Housing Prices</vt:lpstr>
      <vt:lpstr>Training Set of Housing Prices      </vt:lpstr>
      <vt:lpstr>Linear Regression with One Variable: Cost Function     </vt:lpstr>
      <vt:lpstr>PowerPoint Presentation</vt:lpstr>
      <vt:lpstr>Linear Regression with One Variable (2/2)</vt:lpstr>
      <vt:lpstr>PowerPoint Presentation</vt:lpstr>
      <vt:lpstr>Multiple Features (Variables)</vt:lpstr>
      <vt:lpstr>Multiple Features (Variables)</vt:lpstr>
      <vt:lpstr>Hypothesis</vt:lpstr>
      <vt:lpstr>Overfitting</vt:lpstr>
      <vt:lpstr>PowerPoint Presentation</vt:lpstr>
      <vt:lpstr>Influential Poi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assification </vt:lpstr>
      <vt:lpstr> Classification- Case 1 </vt:lpstr>
      <vt:lpstr>Classification- Case 2</vt:lpstr>
      <vt:lpstr>Classification (Continued…) </vt:lpstr>
      <vt:lpstr>Hypothesis Representation   </vt:lpstr>
      <vt:lpstr>Decision Boundary  </vt:lpstr>
      <vt:lpstr>Non-Linear Decision Boundary  </vt:lpstr>
      <vt:lpstr>PowerPoint Presentation</vt:lpstr>
      <vt:lpstr>A Recap of Linear &amp; Logistic Regression</vt:lpstr>
      <vt:lpstr>Which Modelling Method would you use? (1/2)</vt:lpstr>
      <vt:lpstr>Which Modelling Method would you use? (2/2)</vt:lpstr>
      <vt:lpstr>How to Evaluate the Results of Linear Regression?</vt:lpstr>
      <vt:lpstr>How to Evaluate the Results of Logistic Regression?</vt:lpstr>
      <vt:lpstr>PowerPoint Presentation</vt:lpstr>
      <vt:lpstr>Model Evaluation </vt:lpstr>
      <vt:lpstr>Priorities and Goals</vt:lpstr>
      <vt:lpstr>Classifier Performance </vt:lpstr>
      <vt:lpstr>PowerPoint Presentation</vt:lpstr>
      <vt:lpstr>PowerPoint Presentation</vt:lpstr>
      <vt:lpstr>Area under ROC Curve</vt:lpstr>
      <vt:lpstr>Area under ROC Curve: Interpretation</vt:lpstr>
      <vt:lpstr>You learnt so far…</vt:lpstr>
    </vt:vector>
  </TitlesOfParts>
  <Company>Avana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El Maghraoui</dc:creator>
  <cp:lastModifiedBy>Tripti Sethi</cp:lastModifiedBy>
  <cp:revision>211</cp:revision>
  <dcterms:created xsi:type="dcterms:W3CDTF">2017-03-20T08:49:08Z</dcterms:created>
  <dcterms:modified xsi:type="dcterms:W3CDTF">2018-05-23T11:09:01Z</dcterms:modified>
</cp:coreProperties>
</file>